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7" r:id="rId4"/>
    <p:sldMasterId id="2147483712" r:id="rId5"/>
    <p:sldMasterId id="2147483792" r:id="rId6"/>
    <p:sldMasterId id="2147483847" r:id="rId7"/>
    <p:sldMasterId id="2147483859" r:id="rId8"/>
  </p:sldMasterIdLst>
  <p:notesMasterIdLst>
    <p:notesMasterId r:id="rId23"/>
  </p:notesMasterIdLst>
  <p:handoutMasterIdLst>
    <p:handoutMasterId r:id="rId24"/>
  </p:handoutMasterIdLst>
  <p:sldIdLst>
    <p:sldId id="314" r:id="rId9"/>
    <p:sldId id="2147483629" r:id="rId10"/>
    <p:sldId id="2147481143" r:id="rId11"/>
    <p:sldId id="275" r:id="rId12"/>
    <p:sldId id="256" r:id="rId13"/>
    <p:sldId id="2147480087" r:id="rId14"/>
    <p:sldId id="2147483639" r:id="rId15"/>
    <p:sldId id="266" r:id="rId16"/>
    <p:sldId id="2147483646" r:id="rId17"/>
    <p:sldId id="2147483647" r:id="rId18"/>
    <p:sldId id="257" r:id="rId19"/>
    <p:sldId id="258" r:id="rId20"/>
    <p:sldId id="2147481665" r:id="rId21"/>
    <p:sldId id="2147481040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Slide" id="{4688C67F-432C-9F49-8F5D-826B24E2EA75}">
          <p14:sldIdLst>
            <p14:sldId id="314"/>
            <p14:sldId id="2147483629"/>
            <p14:sldId id="2147481143"/>
            <p14:sldId id="275"/>
            <p14:sldId id="256"/>
            <p14:sldId id="2147480087"/>
            <p14:sldId id="2147483639"/>
            <p14:sldId id="266"/>
            <p14:sldId id="2147483646"/>
            <p14:sldId id="2147483647"/>
            <p14:sldId id="257"/>
            <p14:sldId id="258"/>
            <p14:sldId id="2147481665"/>
            <p14:sldId id="21474810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4D797C-A090-26DC-79A5-91B31E3092AD}" name="Rittick Banerjee" initials="RB" userId="S::rittick.10739246@ltimindtree.com::d5668cbc-47b3-4924-916e-c0298cd41b5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B3E4"/>
    <a:srgbClr val="000000"/>
    <a:srgbClr val="004880"/>
    <a:srgbClr val="FFDF7D"/>
    <a:srgbClr val="ECECEC"/>
    <a:srgbClr val="7FA3BF"/>
    <a:srgbClr val="595959"/>
    <a:srgbClr val="F9F0E0"/>
    <a:srgbClr val="F2F7FA"/>
    <a:srgbClr val="E7E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98C7DF-6086-454C-BE01-1B670FBE8314}" v="29" dt="2025-06-26T15:26:35.4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1268" y="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adeepK Mishra" userId="922caaf3-e390-4e34-adde-b978425b8bd9" providerId="ADAL" clId="{8996E4F7-C45C-2F43-9A9C-DAB688CDB6A7}"/>
    <pc:docChg chg="undo custSel addSld delSld modSld sldOrd modSection">
      <pc:chgData name="PradeepK Mishra" userId="922caaf3-e390-4e34-adde-b978425b8bd9" providerId="ADAL" clId="{8996E4F7-C45C-2F43-9A9C-DAB688CDB6A7}" dt="2024-12-03T08:54:14.099" v="1545" actId="108"/>
      <pc:docMkLst>
        <pc:docMk/>
      </pc:docMkLst>
      <pc:sldChg chg="addSp modSp">
        <pc:chgData name="PradeepK Mishra" userId="922caaf3-e390-4e34-adde-b978425b8bd9" providerId="ADAL" clId="{8996E4F7-C45C-2F43-9A9C-DAB688CDB6A7}" dt="2024-12-03T08:52:03.110" v="1527"/>
        <pc:sldMkLst>
          <pc:docMk/>
          <pc:sldMk cId="4157701899" sldId="256"/>
        </pc:sldMkLst>
      </pc:sldChg>
      <pc:sldChg chg="addSp modSp ord">
        <pc:chgData name="PradeepK Mishra" userId="922caaf3-e390-4e34-adde-b978425b8bd9" providerId="ADAL" clId="{8996E4F7-C45C-2F43-9A9C-DAB688CDB6A7}" dt="2024-12-03T08:53:54.948" v="1543" actId="20578"/>
        <pc:sldMkLst>
          <pc:docMk/>
          <pc:sldMk cId="1735154978" sldId="257"/>
        </pc:sldMkLst>
      </pc:sldChg>
      <pc:sldChg chg="addSp delSp modSp mod">
        <pc:chgData name="PradeepK Mishra" userId="922caaf3-e390-4e34-adde-b978425b8bd9" providerId="ADAL" clId="{8996E4F7-C45C-2F43-9A9C-DAB688CDB6A7}" dt="2024-12-03T08:52:04.551" v="1528"/>
        <pc:sldMkLst>
          <pc:docMk/>
          <pc:sldMk cId="200929879" sldId="262"/>
        </pc:sldMkLst>
      </pc:sldChg>
      <pc:sldChg chg="addSp delSp modSp add mod">
        <pc:chgData name="PradeepK Mishra" userId="922caaf3-e390-4e34-adde-b978425b8bd9" providerId="ADAL" clId="{8996E4F7-C45C-2F43-9A9C-DAB688CDB6A7}" dt="2024-12-03T08:51:34.321" v="1524"/>
        <pc:sldMkLst>
          <pc:docMk/>
          <pc:sldMk cId="3503998379" sldId="263"/>
        </pc:sldMkLst>
      </pc:sldChg>
      <pc:sldChg chg="modSp add mod ord">
        <pc:chgData name="PradeepK Mishra" userId="922caaf3-e390-4e34-adde-b978425b8bd9" providerId="ADAL" clId="{8996E4F7-C45C-2F43-9A9C-DAB688CDB6A7}" dt="2024-12-03T08:49:44.199" v="1520" actId="1076"/>
        <pc:sldMkLst>
          <pc:docMk/>
          <pc:sldMk cId="1113749327" sldId="264"/>
        </pc:sldMkLst>
      </pc:sldChg>
      <pc:sldChg chg="addSp delSp modSp add mod">
        <pc:chgData name="PradeepK Mishra" userId="922caaf3-e390-4e34-adde-b978425b8bd9" providerId="ADAL" clId="{8996E4F7-C45C-2F43-9A9C-DAB688CDB6A7}" dt="2024-12-03T08:53:50.431" v="1542" actId="14100"/>
        <pc:sldMkLst>
          <pc:docMk/>
          <pc:sldMk cId="611659120" sldId="265"/>
        </pc:sldMkLst>
      </pc:sldChg>
      <pc:sldChg chg="addSp modSp mod">
        <pc:chgData name="PradeepK Mishra" userId="922caaf3-e390-4e34-adde-b978425b8bd9" providerId="ADAL" clId="{8996E4F7-C45C-2F43-9A9C-DAB688CDB6A7}" dt="2024-12-03T08:51:58.463" v="1526"/>
        <pc:sldMkLst>
          <pc:docMk/>
          <pc:sldMk cId="1418291288" sldId="267"/>
        </pc:sldMkLst>
      </pc:sldChg>
      <pc:sldChg chg="addSp modSp mod">
        <pc:chgData name="PradeepK Mishra" userId="922caaf3-e390-4e34-adde-b978425b8bd9" providerId="ADAL" clId="{8996E4F7-C45C-2F43-9A9C-DAB688CDB6A7}" dt="2024-12-03T08:54:14.099" v="1545" actId="108"/>
        <pc:sldMkLst>
          <pc:docMk/>
          <pc:sldMk cId="4261119308" sldId="274"/>
        </pc:sldMkLst>
      </pc:sldChg>
      <pc:sldChg chg="del">
        <pc:chgData name="PradeepK Mishra" userId="922caaf3-e390-4e34-adde-b978425b8bd9" providerId="ADAL" clId="{8996E4F7-C45C-2F43-9A9C-DAB688CDB6A7}" dt="2024-12-03T08:49:46.405" v="1521" actId="2696"/>
        <pc:sldMkLst>
          <pc:docMk/>
          <pc:sldMk cId="2508737062" sldId="2147478530"/>
        </pc:sldMkLst>
      </pc:sldChg>
      <pc:sldChg chg="addSp modSp del">
        <pc:chgData name="PradeepK Mishra" userId="922caaf3-e390-4e34-adde-b978425b8bd9" providerId="ADAL" clId="{8996E4F7-C45C-2F43-9A9C-DAB688CDB6A7}" dt="2024-12-03T08:54:03.181" v="1544" actId="2696"/>
        <pc:sldMkLst>
          <pc:docMk/>
          <pc:sldMk cId="2239946370" sldId="2147478878"/>
        </pc:sldMkLst>
      </pc:sldChg>
      <pc:sldChg chg="addSp modSp">
        <pc:chgData name="PradeepK Mishra" userId="922caaf3-e390-4e34-adde-b978425b8bd9" providerId="ADAL" clId="{8996E4F7-C45C-2F43-9A9C-DAB688CDB6A7}" dt="2024-12-03T08:52:23.404" v="1532"/>
        <pc:sldMkLst>
          <pc:docMk/>
          <pc:sldMk cId="1530016816" sldId="2147480095"/>
        </pc:sldMkLst>
      </pc:sldChg>
    </pc:docChg>
  </pc:docChgLst>
  <pc:docChgLst>
    <pc:chgData name="Shweta (IN30575)" userId="740a884f-5aa3-4010-8c0e-477202de9606" providerId="ADAL" clId="{61C7CAB1-AFB3-4022-99BC-BDDC5AA3A8CB}"/>
    <pc:docChg chg="undo custSel addSld delSld modSld sldOrd modSection">
      <pc:chgData name="Shweta (IN30575)" userId="740a884f-5aa3-4010-8c0e-477202de9606" providerId="ADAL" clId="{61C7CAB1-AFB3-4022-99BC-BDDC5AA3A8CB}" dt="2025-06-11T15:33:39.934" v="59" actId="20577"/>
      <pc:docMkLst>
        <pc:docMk/>
      </pc:docMkLst>
      <pc:sldChg chg="add del">
        <pc:chgData name="Shweta (IN30575)" userId="740a884f-5aa3-4010-8c0e-477202de9606" providerId="ADAL" clId="{61C7CAB1-AFB3-4022-99BC-BDDC5AA3A8CB}" dt="2025-06-11T10:33:20.234" v="55" actId="47"/>
        <pc:sldMkLst>
          <pc:docMk/>
          <pc:sldMk cId="3182808549" sldId="256"/>
        </pc:sldMkLst>
      </pc:sldChg>
      <pc:sldChg chg="del">
        <pc:chgData name="Shweta (IN30575)" userId="740a884f-5aa3-4010-8c0e-477202de9606" providerId="ADAL" clId="{61C7CAB1-AFB3-4022-99BC-BDDC5AA3A8CB}" dt="2025-06-11T09:58:25.161" v="4" actId="47"/>
        <pc:sldMkLst>
          <pc:docMk/>
          <pc:sldMk cId="4157701899" sldId="256"/>
        </pc:sldMkLst>
      </pc:sldChg>
      <pc:sldChg chg="del">
        <pc:chgData name="Shweta (IN30575)" userId="740a884f-5aa3-4010-8c0e-477202de9606" providerId="ADAL" clId="{61C7CAB1-AFB3-4022-99BC-BDDC5AA3A8CB}" dt="2025-06-11T09:58:28.181" v="6" actId="47"/>
        <pc:sldMkLst>
          <pc:docMk/>
          <pc:sldMk cId="1735154978" sldId="257"/>
        </pc:sldMkLst>
      </pc:sldChg>
      <pc:sldChg chg="addSp modSp new">
        <pc:chgData name="Shweta (IN30575)" userId="740a884f-5aa3-4010-8c0e-477202de9606" providerId="ADAL" clId="{61C7CAB1-AFB3-4022-99BC-BDDC5AA3A8CB}" dt="2025-06-11T10:32:49.878" v="50"/>
        <pc:sldMkLst>
          <pc:docMk/>
          <pc:sldMk cId="2392813521" sldId="257"/>
        </pc:sldMkLst>
        <pc:spChg chg="add mod">
          <ac:chgData name="Shweta (IN30575)" userId="740a884f-5aa3-4010-8c0e-477202de9606" providerId="ADAL" clId="{61C7CAB1-AFB3-4022-99BC-BDDC5AA3A8CB}" dt="2025-06-11T10:32:49.878" v="50"/>
          <ac:spMkLst>
            <pc:docMk/>
            <pc:sldMk cId="2392813521" sldId="257"/>
            <ac:spMk id="3" creationId="{650E19D4-335F-6ED4-BA2B-A462B829F915}"/>
          </ac:spMkLst>
        </pc:spChg>
        <pc:spChg chg="mod">
          <ac:chgData name="Shweta (IN30575)" userId="740a884f-5aa3-4010-8c0e-477202de9606" providerId="ADAL" clId="{61C7CAB1-AFB3-4022-99BC-BDDC5AA3A8CB}" dt="2025-06-11T10:32:49.878" v="50"/>
          <ac:spMkLst>
            <pc:docMk/>
            <pc:sldMk cId="2392813521" sldId="257"/>
            <ac:spMk id="12" creationId="{CBD65966-FADE-E9D2-D0F2-FA64499C3137}"/>
          </ac:spMkLst>
        </pc:spChg>
        <pc:spChg chg="mod">
          <ac:chgData name="Shweta (IN30575)" userId="740a884f-5aa3-4010-8c0e-477202de9606" providerId="ADAL" clId="{61C7CAB1-AFB3-4022-99BC-BDDC5AA3A8CB}" dt="2025-06-11T10:32:49.878" v="50"/>
          <ac:spMkLst>
            <pc:docMk/>
            <pc:sldMk cId="2392813521" sldId="257"/>
            <ac:spMk id="14" creationId="{9C8CA5E9-E62A-A41D-FE45-A74D8C559B7E}"/>
          </ac:spMkLst>
        </pc:spChg>
        <pc:spChg chg="mod">
          <ac:chgData name="Shweta (IN30575)" userId="740a884f-5aa3-4010-8c0e-477202de9606" providerId="ADAL" clId="{61C7CAB1-AFB3-4022-99BC-BDDC5AA3A8CB}" dt="2025-06-11T10:32:49.878" v="50"/>
          <ac:spMkLst>
            <pc:docMk/>
            <pc:sldMk cId="2392813521" sldId="257"/>
            <ac:spMk id="15" creationId="{6F54BFD3-46FA-BE57-2B72-65A0738E8103}"/>
          </ac:spMkLst>
        </pc:spChg>
        <pc:spChg chg="mod">
          <ac:chgData name="Shweta (IN30575)" userId="740a884f-5aa3-4010-8c0e-477202de9606" providerId="ADAL" clId="{61C7CAB1-AFB3-4022-99BC-BDDC5AA3A8CB}" dt="2025-06-11T10:32:49.878" v="50"/>
          <ac:spMkLst>
            <pc:docMk/>
            <pc:sldMk cId="2392813521" sldId="257"/>
            <ac:spMk id="18" creationId="{59637394-DF89-1633-0B15-5E728243391B}"/>
          </ac:spMkLst>
        </pc:spChg>
        <pc:spChg chg="add mod">
          <ac:chgData name="Shweta (IN30575)" userId="740a884f-5aa3-4010-8c0e-477202de9606" providerId="ADAL" clId="{61C7CAB1-AFB3-4022-99BC-BDDC5AA3A8CB}" dt="2025-06-11T10:32:49.878" v="50"/>
          <ac:spMkLst>
            <pc:docMk/>
            <pc:sldMk cId="2392813521" sldId="257"/>
            <ac:spMk id="21" creationId="{F274E05A-6653-94E1-565D-CB0FBE79ECC3}"/>
          </ac:spMkLst>
        </pc:spChg>
        <pc:spChg chg="mod">
          <ac:chgData name="Shweta (IN30575)" userId="740a884f-5aa3-4010-8c0e-477202de9606" providerId="ADAL" clId="{61C7CAB1-AFB3-4022-99BC-BDDC5AA3A8CB}" dt="2025-06-11T10:32:49.878" v="50"/>
          <ac:spMkLst>
            <pc:docMk/>
            <pc:sldMk cId="2392813521" sldId="257"/>
            <ac:spMk id="37" creationId="{8F2989F1-E533-F872-962F-3D5EF9A6041D}"/>
          </ac:spMkLst>
        </pc:spChg>
        <pc:spChg chg="mod">
          <ac:chgData name="Shweta (IN30575)" userId="740a884f-5aa3-4010-8c0e-477202de9606" providerId="ADAL" clId="{61C7CAB1-AFB3-4022-99BC-BDDC5AA3A8CB}" dt="2025-06-11T10:32:49.878" v="50"/>
          <ac:spMkLst>
            <pc:docMk/>
            <pc:sldMk cId="2392813521" sldId="257"/>
            <ac:spMk id="40" creationId="{58DA8AD6-DC9C-9DD6-1ADC-43A9B9253CBF}"/>
          </ac:spMkLst>
        </pc:spChg>
        <pc:spChg chg="mod">
          <ac:chgData name="Shweta (IN30575)" userId="740a884f-5aa3-4010-8c0e-477202de9606" providerId="ADAL" clId="{61C7CAB1-AFB3-4022-99BC-BDDC5AA3A8CB}" dt="2025-06-11T10:32:49.878" v="50"/>
          <ac:spMkLst>
            <pc:docMk/>
            <pc:sldMk cId="2392813521" sldId="257"/>
            <ac:spMk id="46" creationId="{9CFDB995-0C32-1F0B-7225-D0DEFB576FCC}"/>
          </ac:spMkLst>
        </pc:spChg>
        <pc:spChg chg="mod">
          <ac:chgData name="Shweta (IN30575)" userId="740a884f-5aa3-4010-8c0e-477202de9606" providerId="ADAL" clId="{61C7CAB1-AFB3-4022-99BC-BDDC5AA3A8CB}" dt="2025-06-11T10:32:49.878" v="50"/>
          <ac:spMkLst>
            <pc:docMk/>
            <pc:sldMk cId="2392813521" sldId="257"/>
            <ac:spMk id="51" creationId="{29ED7686-3719-0C8B-CBC9-7A5A45221828}"/>
          </ac:spMkLst>
        </pc:spChg>
      </pc:sldChg>
      <pc:sldChg chg="addSp delSp modSp add del mod">
        <pc:chgData name="Shweta (IN30575)" userId="740a884f-5aa3-4010-8c0e-477202de9606" providerId="ADAL" clId="{61C7CAB1-AFB3-4022-99BC-BDDC5AA3A8CB}" dt="2025-06-11T10:31:54.997" v="41" actId="47"/>
        <pc:sldMkLst>
          <pc:docMk/>
          <pc:sldMk cId="3617661085" sldId="257"/>
        </pc:sldMkLst>
      </pc:sldChg>
      <pc:sldChg chg="del">
        <pc:chgData name="Shweta (IN30575)" userId="740a884f-5aa3-4010-8c0e-477202de9606" providerId="ADAL" clId="{61C7CAB1-AFB3-4022-99BC-BDDC5AA3A8CB}" dt="2025-06-11T09:58:42.424" v="15" actId="47"/>
        <pc:sldMkLst>
          <pc:docMk/>
          <pc:sldMk cId="2412123396" sldId="258"/>
        </pc:sldMkLst>
      </pc:sldChg>
      <pc:sldChg chg="addSp delSp modSp add">
        <pc:chgData name="Shweta (IN30575)" userId="740a884f-5aa3-4010-8c0e-477202de9606" providerId="ADAL" clId="{61C7CAB1-AFB3-4022-99BC-BDDC5AA3A8CB}" dt="2025-06-11T10:33:15.797" v="54"/>
        <pc:sldMkLst>
          <pc:docMk/>
          <pc:sldMk cId="3520350992" sldId="258"/>
        </pc:sldMkLst>
        <pc:spChg chg="add mod">
          <ac:chgData name="Shweta (IN30575)" userId="740a884f-5aa3-4010-8c0e-477202de9606" providerId="ADAL" clId="{61C7CAB1-AFB3-4022-99BC-BDDC5AA3A8CB}" dt="2025-06-11T10:33:15.797" v="54"/>
          <ac:spMkLst>
            <pc:docMk/>
            <pc:sldMk cId="3520350992" sldId="258"/>
            <ac:spMk id="63" creationId="{9E4AE09C-819F-1EF3-2ED7-EA40894C08D0}"/>
          </ac:spMkLst>
        </pc:spChg>
        <pc:spChg chg="add mod">
          <ac:chgData name="Shweta (IN30575)" userId="740a884f-5aa3-4010-8c0e-477202de9606" providerId="ADAL" clId="{61C7CAB1-AFB3-4022-99BC-BDDC5AA3A8CB}" dt="2025-06-11T10:33:15.797" v="54"/>
          <ac:spMkLst>
            <pc:docMk/>
            <pc:sldMk cId="3520350992" sldId="258"/>
            <ac:spMk id="68" creationId="{BAD8540B-6698-DB4F-082C-D9513487DBF6}"/>
          </ac:spMkLst>
        </pc:spChg>
        <pc:spChg chg="mod">
          <ac:chgData name="Shweta (IN30575)" userId="740a884f-5aa3-4010-8c0e-477202de9606" providerId="ADAL" clId="{61C7CAB1-AFB3-4022-99BC-BDDC5AA3A8CB}" dt="2025-06-11T10:33:15.797" v="54"/>
          <ac:spMkLst>
            <pc:docMk/>
            <pc:sldMk cId="3520350992" sldId="258"/>
            <ac:spMk id="71" creationId="{D4B755DC-15D4-6EF8-BFE9-BF657626696D}"/>
          </ac:spMkLst>
        </pc:spChg>
        <pc:spChg chg="add mod">
          <ac:chgData name="Shweta (IN30575)" userId="740a884f-5aa3-4010-8c0e-477202de9606" providerId="ADAL" clId="{61C7CAB1-AFB3-4022-99BC-BDDC5AA3A8CB}" dt="2025-06-11T10:33:15.797" v="54"/>
          <ac:spMkLst>
            <pc:docMk/>
            <pc:sldMk cId="3520350992" sldId="258"/>
            <ac:spMk id="75" creationId="{8FCCF975-425D-B6F6-12CB-CDBE23AA729F}"/>
          </ac:spMkLst>
        </pc:spChg>
        <pc:spChg chg="mod">
          <ac:chgData name="Shweta (IN30575)" userId="740a884f-5aa3-4010-8c0e-477202de9606" providerId="ADAL" clId="{61C7CAB1-AFB3-4022-99BC-BDDC5AA3A8CB}" dt="2025-06-11T10:33:15.797" v="54"/>
          <ac:spMkLst>
            <pc:docMk/>
            <pc:sldMk cId="3520350992" sldId="258"/>
            <ac:spMk id="79" creationId="{DAC6F9AE-9916-4CB6-8CFB-09E4C236FFBE}"/>
          </ac:spMkLst>
        </pc:spChg>
        <pc:spChg chg="mod">
          <ac:chgData name="Shweta (IN30575)" userId="740a884f-5aa3-4010-8c0e-477202de9606" providerId="ADAL" clId="{61C7CAB1-AFB3-4022-99BC-BDDC5AA3A8CB}" dt="2025-06-11T10:33:15.797" v="54"/>
          <ac:spMkLst>
            <pc:docMk/>
            <pc:sldMk cId="3520350992" sldId="258"/>
            <ac:spMk id="84" creationId="{E29B56A2-DB38-CA9C-5677-6A61A0A61C22}"/>
          </ac:spMkLst>
        </pc:spChg>
        <pc:spChg chg="mod">
          <ac:chgData name="Shweta (IN30575)" userId="740a884f-5aa3-4010-8c0e-477202de9606" providerId="ADAL" clId="{61C7CAB1-AFB3-4022-99BC-BDDC5AA3A8CB}" dt="2025-06-11T10:33:15.797" v="54"/>
          <ac:spMkLst>
            <pc:docMk/>
            <pc:sldMk cId="3520350992" sldId="258"/>
            <ac:spMk id="104" creationId="{57C22D36-F613-8156-908D-56451B16A22B}"/>
          </ac:spMkLst>
        </pc:spChg>
        <pc:spChg chg="mod">
          <ac:chgData name="Shweta (IN30575)" userId="740a884f-5aa3-4010-8c0e-477202de9606" providerId="ADAL" clId="{61C7CAB1-AFB3-4022-99BC-BDDC5AA3A8CB}" dt="2025-06-11T10:33:15.797" v="54"/>
          <ac:spMkLst>
            <pc:docMk/>
            <pc:sldMk cId="3520350992" sldId="258"/>
            <ac:spMk id="108" creationId="{8C314154-3E41-C331-FED1-C23319C9B5F5}"/>
          </ac:spMkLst>
        </pc:spChg>
        <pc:spChg chg="mod">
          <ac:chgData name="Shweta (IN30575)" userId="740a884f-5aa3-4010-8c0e-477202de9606" providerId="ADAL" clId="{61C7CAB1-AFB3-4022-99BC-BDDC5AA3A8CB}" dt="2025-06-11T10:33:15.797" v="54"/>
          <ac:spMkLst>
            <pc:docMk/>
            <pc:sldMk cId="3520350992" sldId="258"/>
            <ac:spMk id="115" creationId="{B758E81E-19C4-9DEA-534E-991AACC99F7B}"/>
          </ac:spMkLst>
        </pc:spChg>
      </pc:sldChg>
      <pc:sldChg chg="del">
        <pc:chgData name="Shweta (IN30575)" userId="740a884f-5aa3-4010-8c0e-477202de9606" providerId="ADAL" clId="{61C7CAB1-AFB3-4022-99BC-BDDC5AA3A8CB}" dt="2025-06-11T09:58:43.047" v="16" actId="47"/>
        <pc:sldMkLst>
          <pc:docMk/>
          <pc:sldMk cId="3137764900" sldId="260"/>
        </pc:sldMkLst>
      </pc:sldChg>
      <pc:sldChg chg="del">
        <pc:chgData name="Shweta (IN30575)" userId="740a884f-5aa3-4010-8c0e-477202de9606" providerId="ADAL" clId="{61C7CAB1-AFB3-4022-99BC-BDDC5AA3A8CB}" dt="2025-06-11T09:58:39.698" v="14" actId="47"/>
        <pc:sldMkLst>
          <pc:docMk/>
          <pc:sldMk cId="3003593629" sldId="261"/>
        </pc:sldMkLst>
      </pc:sldChg>
      <pc:sldChg chg="del">
        <pc:chgData name="Shweta (IN30575)" userId="740a884f-5aa3-4010-8c0e-477202de9606" providerId="ADAL" clId="{61C7CAB1-AFB3-4022-99BC-BDDC5AA3A8CB}" dt="2025-06-11T09:58:25.786" v="5" actId="47"/>
        <pc:sldMkLst>
          <pc:docMk/>
          <pc:sldMk cId="200929879" sldId="262"/>
        </pc:sldMkLst>
      </pc:sldChg>
      <pc:sldChg chg="del">
        <pc:chgData name="Shweta (IN30575)" userId="740a884f-5aa3-4010-8c0e-477202de9606" providerId="ADAL" clId="{61C7CAB1-AFB3-4022-99BC-BDDC5AA3A8CB}" dt="2025-06-11T09:58:21.754" v="2" actId="47"/>
        <pc:sldMkLst>
          <pc:docMk/>
          <pc:sldMk cId="3503998379" sldId="263"/>
        </pc:sldMkLst>
      </pc:sldChg>
      <pc:sldChg chg="del">
        <pc:chgData name="Shweta (IN30575)" userId="740a884f-5aa3-4010-8c0e-477202de9606" providerId="ADAL" clId="{61C7CAB1-AFB3-4022-99BC-BDDC5AA3A8CB}" dt="2025-06-11T09:58:21.091" v="1" actId="47"/>
        <pc:sldMkLst>
          <pc:docMk/>
          <pc:sldMk cId="1113749327" sldId="264"/>
        </pc:sldMkLst>
      </pc:sldChg>
      <pc:sldChg chg="del">
        <pc:chgData name="Shweta (IN30575)" userId="740a884f-5aa3-4010-8c0e-477202de9606" providerId="ADAL" clId="{61C7CAB1-AFB3-4022-99BC-BDDC5AA3A8CB}" dt="2025-06-11T09:58:29.826" v="7" actId="47"/>
        <pc:sldMkLst>
          <pc:docMk/>
          <pc:sldMk cId="611659120" sldId="265"/>
        </pc:sldMkLst>
      </pc:sldChg>
      <pc:sldChg chg="del">
        <pc:chgData name="Shweta (IN30575)" userId="740a884f-5aa3-4010-8c0e-477202de9606" providerId="ADAL" clId="{61C7CAB1-AFB3-4022-99BC-BDDC5AA3A8CB}" dt="2025-06-11T09:58:30.875" v="8" actId="47"/>
        <pc:sldMkLst>
          <pc:docMk/>
          <pc:sldMk cId="645413251" sldId="266"/>
        </pc:sldMkLst>
      </pc:sldChg>
      <pc:sldChg chg="add">
        <pc:chgData name="Shweta (IN30575)" userId="740a884f-5aa3-4010-8c0e-477202de9606" providerId="ADAL" clId="{61C7CAB1-AFB3-4022-99BC-BDDC5AA3A8CB}" dt="2025-06-11T10:02:53.319" v="20"/>
        <pc:sldMkLst>
          <pc:docMk/>
          <pc:sldMk cId="1411952415" sldId="266"/>
        </pc:sldMkLst>
      </pc:sldChg>
      <pc:sldChg chg="del">
        <pc:chgData name="Shweta (IN30575)" userId="740a884f-5aa3-4010-8c0e-477202de9606" providerId="ADAL" clId="{61C7CAB1-AFB3-4022-99BC-BDDC5AA3A8CB}" dt="2025-06-11T09:58:24.129" v="3" actId="47"/>
        <pc:sldMkLst>
          <pc:docMk/>
          <pc:sldMk cId="1418291288" sldId="267"/>
        </pc:sldMkLst>
      </pc:sldChg>
      <pc:sldChg chg="del">
        <pc:chgData name="Shweta (IN30575)" userId="740a884f-5aa3-4010-8c0e-477202de9606" providerId="ADAL" clId="{61C7CAB1-AFB3-4022-99BC-BDDC5AA3A8CB}" dt="2025-06-11T09:58:48.038" v="19" actId="47"/>
        <pc:sldMkLst>
          <pc:docMk/>
          <pc:sldMk cId="2441217102" sldId="268"/>
        </pc:sldMkLst>
      </pc:sldChg>
      <pc:sldChg chg="del">
        <pc:chgData name="Shweta (IN30575)" userId="740a884f-5aa3-4010-8c0e-477202de9606" providerId="ADAL" clId="{61C7CAB1-AFB3-4022-99BC-BDDC5AA3A8CB}" dt="2025-06-11T09:58:12.022" v="0" actId="47"/>
        <pc:sldMkLst>
          <pc:docMk/>
          <pc:sldMk cId="271193733" sldId="2147478529"/>
        </pc:sldMkLst>
      </pc:sldChg>
      <pc:sldChg chg="del">
        <pc:chgData name="Shweta (IN30575)" userId="740a884f-5aa3-4010-8c0e-477202de9606" providerId="ADAL" clId="{61C7CAB1-AFB3-4022-99BC-BDDC5AA3A8CB}" dt="2025-06-11T09:58:37.731" v="11" actId="47"/>
        <pc:sldMkLst>
          <pc:docMk/>
          <pc:sldMk cId="731103160" sldId="2147480090"/>
        </pc:sldMkLst>
      </pc:sldChg>
      <pc:sldChg chg="del">
        <pc:chgData name="Shweta (IN30575)" userId="740a884f-5aa3-4010-8c0e-477202de9606" providerId="ADAL" clId="{61C7CAB1-AFB3-4022-99BC-BDDC5AA3A8CB}" dt="2025-06-11T09:58:33.288" v="9" actId="47"/>
        <pc:sldMkLst>
          <pc:docMk/>
          <pc:sldMk cId="1530016816" sldId="2147480095"/>
        </pc:sldMkLst>
      </pc:sldChg>
      <pc:sldChg chg="del">
        <pc:chgData name="Shweta (IN30575)" userId="740a884f-5aa3-4010-8c0e-477202de9606" providerId="ADAL" clId="{61C7CAB1-AFB3-4022-99BC-BDDC5AA3A8CB}" dt="2025-06-11T09:58:38.345" v="12" actId="47"/>
        <pc:sldMkLst>
          <pc:docMk/>
          <pc:sldMk cId="1596898208" sldId="2147480180"/>
        </pc:sldMkLst>
      </pc:sldChg>
      <pc:sldChg chg="ord">
        <pc:chgData name="Shweta (IN30575)" userId="740a884f-5aa3-4010-8c0e-477202de9606" providerId="ADAL" clId="{61C7CAB1-AFB3-4022-99BC-BDDC5AA3A8CB}" dt="2025-06-11T10:03:24.943" v="22"/>
        <pc:sldMkLst>
          <pc:docMk/>
          <pc:sldMk cId="1761650007" sldId="2147481040"/>
        </pc:sldMkLst>
      </pc:sldChg>
      <pc:sldChg chg="del">
        <pc:chgData name="Shweta (IN30575)" userId="740a884f-5aa3-4010-8c0e-477202de9606" providerId="ADAL" clId="{61C7CAB1-AFB3-4022-99BC-BDDC5AA3A8CB}" dt="2025-06-11T09:58:36.929" v="10" actId="47"/>
        <pc:sldMkLst>
          <pc:docMk/>
          <pc:sldMk cId="60158460" sldId="2147481057"/>
        </pc:sldMkLst>
      </pc:sldChg>
      <pc:sldChg chg="modSp mod">
        <pc:chgData name="Shweta (IN30575)" userId="740a884f-5aa3-4010-8c0e-477202de9606" providerId="ADAL" clId="{61C7CAB1-AFB3-4022-99BC-BDDC5AA3A8CB}" dt="2025-06-11T15:33:39.934" v="59" actId="20577"/>
        <pc:sldMkLst>
          <pc:docMk/>
          <pc:sldMk cId="1013684766" sldId="2147483637"/>
        </pc:sldMkLst>
      </pc:sldChg>
      <pc:sldChg chg="del">
        <pc:chgData name="Shweta (IN30575)" userId="740a884f-5aa3-4010-8c0e-477202de9606" providerId="ADAL" clId="{61C7CAB1-AFB3-4022-99BC-BDDC5AA3A8CB}" dt="2025-06-11T09:58:44.172" v="17" actId="47"/>
        <pc:sldMkLst>
          <pc:docMk/>
          <pc:sldMk cId="2731141310" sldId="2147483638"/>
        </pc:sldMkLst>
      </pc:sldChg>
      <pc:sldChg chg="add">
        <pc:chgData name="Shweta (IN30575)" userId="740a884f-5aa3-4010-8c0e-477202de9606" providerId="ADAL" clId="{61C7CAB1-AFB3-4022-99BC-BDDC5AA3A8CB}" dt="2025-06-11T10:03:26.980" v="23"/>
        <pc:sldMkLst>
          <pc:docMk/>
          <pc:sldMk cId="1714468334" sldId="2147483639"/>
        </pc:sldMkLst>
      </pc:sldChg>
      <pc:sldChg chg="del">
        <pc:chgData name="Shweta (IN30575)" userId="740a884f-5aa3-4010-8c0e-477202de9606" providerId="ADAL" clId="{61C7CAB1-AFB3-4022-99BC-BDDC5AA3A8CB}" dt="2025-06-11T09:58:39.099" v="13" actId="47"/>
        <pc:sldMkLst>
          <pc:docMk/>
          <pc:sldMk cId="2629135691" sldId="2147483642"/>
        </pc:sldMkLst>
      </pc:sldChg>
      <pc:sldChg chg="add del">
        <pc:chgData name="Shweta (IN30575)" userId="740a884f-5aa3-4010-8c0e-477202de9606" providerId="ADAL" clId="{61C7CAB1-AFB3-4022-99BC-BDDC5AA3A8CB}" dt="2025-06-11T10:32:21.616" v="44" actId="47"/>
        <pc:sldMkLst>
          <pc:docMk/>
          <pc:sldMk cId="3079730482" sldId="2147483642"/>
        </pc:sldMkLst>
      </pc:sldChg>
      <pc:sldChg chg="add del">
        <pc:chgData name="Shweta (IN30575)" userId="740a884f-5aa3-4010-8c0e-477202de9606" providerId="ADAL" clId="{61C7CAB1-AFB3-4022-99BC-BDDC5AA3A8CB}" dt="2025-06-11T10:32:58.882" v="51" actId="47"/>
        <pc:sldMkLst>
          <pc:docMk/>
          <pc:sldMk cId="391213043" sldId="2147483645"/>
        </pc:sldMkLst>
      </pc:sldChg>
      <pc:sldChg chg="addSp delSp modSp new mod">
        <pc:chgData name="Shweta (IN30575)" userId="740a884f-5aa3-4010-8c0e-477202de9606" providerId="ADAL" clId="{61C7CAB1-AFB3-4022-99BC-BDDC5AA3A8CB}" dt="2025-06-11T10:31:25.456" v="40" actId="20577"/>
        <pc:sldMkLst>
          <pc:docMk/>
          <pc:sldMk cId="1466246676" sldId="2147483646"/>
        </pc:sldMkLst>
        <pc:spChg chg="add mod">
          <ac:chgData name="Shweta (IN30575)" userId="740a884f-5aa3-4010-8c0e-477202de9606" providerId="ADAL" clId="{61C7CAB1-AFB3-4022-99BC-BDDC5AA3A8CB}" dt="2025-06-11T10:30:16.828" v="32"/>
          <ac:spMkLst>
            <pc:docMk/>
            <pc:sldMk cId="1466246676" sldId="2147483646"/>
            <ac:spMk id="7" creationId="{E1A6E9E6-BB0B-DCCF-37BD-19884D7B32EF}"/>
          </ac:spMkLst>
        </pc:spChg>
        <pc:spChg chg="add mod">
          <ac:chgData name="Shweta (IN30575)" userId="740a884f-5aa3-4010-8c0e-477202de9606" providerId="ADAL" clId="{61C7CAB1-AFB3-4022-99BC-BDDC5AA3A8CB}" dt="2025-06-11T10:30:16.828" v="32"/>
          <ac:spMkLst>
            <pc:docMk/>
            <pc:sldMk cId="1466246676" sldId="2147483646"/>
            <ac:spMk id="8" creationId="{412D7716-80BB-2015-52BA-E98FE83E6499}"/>
          </ac:spMkLst>
        </pc:spChg>
        <pc:spChg chg="add mod">
          <ac:chgData name="Shweta (IN30575)" userId="740a884f-5aa3-4010-8c0e-477202de9606" providerId="ADAL" clId="{61C7CAB1-AFB3-4022-99BC-BDDC5AA3A8CB}" dt="2025-06-11T10:30:16.828" v="32"/>
          <ac:spMkLst>
            <pc:docMk/>
            <pc:sldMk cId="1466246676" sldId="2147483646"/>
            <ac:spMk id="9" creationId="{0C47516F-8E53-96BC-81D2-0695F0A8D5CD}"/>
          </ac:spMkLst>
        </pc:spChg>
        <pc:spChg chg="mod">
          <ac:chgData name="Shweta (IN30575)" userId="740a884f-5aa3-4010-8c0e-477202de9606" providerId="ADAL" clId="{61C7CAB1-AFB3-4022-99BC-BDDC5AA3A8CB}" dt="2025-06-11T10:30:16.828" v="32"/>
          <ac:spMkLst>
            <pc:docMk/>
            <pc:sldMk cId="1466246676" sldId="2147483646"/>
            <ac:spMk id="24" creationId="{3E71E41F-850F-5021-32CE-0872AFAB8187}"/>
          </ac:spMkLst>
        </pc:spChg>
        <pc:spChg chg="add mod">
          <ac:chgData name="Shweta (IN30575)" userId="740a884f-5aa3-4010-8c0e-477202de9606" providerId="ADAL" clId="{61C7CAB1-AFB3-4022-99BC-BDDC5AA3A8CB}" dt="2025-06-11T10:30:16.828" v="32"/>
          <ac:spMkLst>
            <pc:docMk/>
            <pc:sldMk cId="1466246676" sldId="2147483646"/>
            <ac:spMk id="31" creationId="{1DDE2D6E-120A-FB96-87E6-60F4385FBF7A}"/>
          </ac:spMkLst>
        </pc:spChg>
        <pc:spChg chg="mod">
          <ac:chgData name="Shweta (IN30575)" userId="740a884f-5aa3-4010-8c0e-477202de9606" providerId="ADAL" clId="{61C7CAB1-AFB3-4022-99BC-BDDC5AA3A8CB}" dt="2025-06-11T10:31:25.456" v="40" actId="20577"/>
          <ac:spMkLst>
            <pc:docMk/>
            <pc:sldMk cId="1466246676" sldId="2147483646"/>
            <ac:spMk id="34" creationId="{BFF3A518-1BC3-4E01-D45A-C0CDF3F01AE9}"/>
          </ac:spMkLst>
        </pc:spChg>
        <pc:spChg chg="add mod">
          <ac:chgData name="Shweta (IN30575)" userId="740a884f-5aa3-4010-8c0e-477202de9606" providerId="ADAL" clId="{61C7CAB1-AFB3-4022-99BC-BDDC5AA3A8CB}" dt="2025-06-11T10:30:16.828" v="32"/>
          <ac:spMkLst>
            <pc:docMk/>
            <pc:sldMk cId="1466246676" sldId="2147483646"/>
            <ac:spMk id="50" creationId="{C6F47219-F344-F056-69BC-5D294508286B}"/>
          </ac:spMkLst>
        </pc:spChg>
        <pc:spChg chg="mod">
          <ac:chgData name="Shweta (IN30575)" userId="740a884f-5aa3-4010-8c0e-477202de9606" providerId="ADAL" clId="{61C7CAB1-AFB3-4022-99BC-BDDC5AA3A8CB}" dt="2025-06-11T10:30:16.828" v="32"/>
          <ac:spMkLst>
            <pc:docMk/>
            <pc:sldMk cId="1466246676" sldId="2147483646"/>
            <ac:spMk id="53" creationId="{A5A10260-9186-18B2-FC83-E0A452E4A022}"/>
          </ac:spMkLst>
        </pc:spChg>
        <pc:spChg chg="mod">
          <ac:chgData name="Shweta (IN30575)" userId="740a884f-5aa3-4010-8c0e-477202de9606" providerId="ADAL" clId="{61C7CAB1-AFB3-4022-99BC-BDDC5AA3A8CB}" dt="2025-06-11T10:30:16.828" v="32"/>
          <ac:spMkLst>
            <pc:docMk/>
            <pc:sldMk cId="1466246676" sldId="2147483646"/>
            <ac:spMk id="56" creationId="{D9D5E48E-2726-FA80-AF0A-829146856AA6}"/>
          </ac:spMkLst>
        </pc:spChg>
        <pc:spChg chg="mod">
          <ac:chgData name="Shweta (IN30575)" userId="740a884f-5aa3-4010-8c0e-477202de9606" providerId="ADAL" clId="{61C7CAB1-AFB3-4022-99BC-BDDC5AA3A8CB}" dt="2025-06-11T10:30:16.828" v="32"/>
          <ac:spMkLst>
            <pc:docMk/>
            <pc:sldMk cId="1466246676" sldId="2147483646"/>
            <ac:spMk id="57" creationId="{058D98CE-6C23-8ABD-46AB-7F169C964763}"/>
          </ac:spMkLst>
        </pc:spChg>
        <pc:spChg chg="add mod">
          <ac:chgData name="Shweta (IN30575)" userId="740a884f-5aa3-4010-8c0e-477202de9606" providerId="ADAL" clId="{61C7CAB1-AFB3-4022-99BC-BDDC5AA3A8CB}" dt="2025-06-11T10:30:23.752" v="33"/>
          <ac:spMkLst>
            <pc:docMk/>
            <pc:sldMk cId="1466246676" sldId="2147483646"/>
            <ac:spMk id="82" creationId="{696D3B4F-3A01-B2D3-9868-59934DC82A8C}"/>
          </ac:spMkLst>
        </pc:spChg>
      </pc:sldChg>
      <pc:sldChg chg="addSp modSp new ord">
        <pc:chgData name="Shweta (IN30575)" userId="740a884f-5aa3-4010-8c0e-477202de9606" providerId="ADAL" clId="{61C7CAB1-AFB3-4022-99BC-BDDC5AA3A8CB}" dt="2025-06-11T10:32:27.741" v="48"/>
        <pc:sldMkLst>
          <pc:docMk/>
          <pc:sldMk cId="662430822" sldId="2147483647"/>
        </pc:sldMkLst>
        <pc:spChg chg="add mod">
          <ac:chgData name="Shweta (IN30575)" userId="740a884f-5aa3-4010-8c0e-477202de9606" providerId="ADAL" clId="{61C7CAB1-AFB3-4022-99BC-BDDC5AA3A8CB}" dt="2025-06-11T10:32:16.034" v="43"/>
          <ac:spMkLst>
            <pc:docMk/>
            <pc:sldMk cId="662430822" sldId="2147483647"/>
            <ac:spMk id="4" creationId="{15B883D4-6859-DF0D-5F30-618E7BFB1C4F}"/>
          </ac:spMkLst>
        </pc:spChg>
        <pc:spChg chg="add mod">
          <ac:chgData name="Shweta (IN30575)" userId="740a884f-5aa3-4010-8c0e-477202de9606" providerId="ADAL" clId="{61C7CAB1-AFB3-4022-99BC-BDDC5AA3A8CB}" dt="2025-06-11T10:32:16.034" v="43"/>
          <ac:spMkLst>
            <pc:docMk/>
            <pc:sldMk cId="662430822" sldId="2147483647"/>
            <ac:spMk id="6" creationId="{58296604-4278-435B-1902-7D151C386D66}"/>
          </ac:spMkLst>
        </pc:spChg>
        <pc:spChg chg="add mod">
          <ac:chgData name="Shweta (IN30575)" userId="740a884f-5aa3-4010-8c0e-477202de9606" providerId="ADAL" clId="{61C7CAB1-AFB3-4022-99BC-BDDC5AA3A8CB}" dt="2025-06-11T10:32:16.034" v="43"/>
          <ac:spMkLst>
            <pc:docMk/>
            <pc:sldMk cId="662430822" sldId="2147483647"/>
            <ac:spMk id="9" creationId="{72290F55-BD96-0A0D-AA24-EAD24D19B909}"/>
          </ac:spMkLst>
        </pc:spChg>
        <pc:spChg chg="add mod">
          <ac:chgData name="Shweta (IN30575)" userId="740a884f-5aa3-4010-8c0e-477202de9606" providerId="ADAL" clId="{61C7CAB1-AFB3-4022-99BC-BDDC5AA3A8CB}" dt="2025-06-11T10:32:16.034" v="43"/>
          <ac:spMkLst>
            <pc:docMk/>
            <pc:sldMk cId="662430822" sldId="2147483647"/>
            <ac:spMk id="20" creationId="{F736ADF4-FEDE-A1D6-349E-0F0E5F909FBA}"/>
          </ac:spMkLst>
        </pc:spChg>
        <pc:spChg chg="add mod">
          <ac:chgData name="Shweta (IN30575)" userId="740a884f-5aa3-4010-8c0e-477202de9606" providerId="ADAL" clId="{61C7CAB1-AFB3-4022-99BC-BDDC5AA3A8CB}" dt="2025-06-11T10:32:16.034" v="43"/>
          <ac:spMkLst>
            <pc:docMk/>
            <pc:sldMk cId="662430822" sldId="2147483647"/>
            <ac:spMk id="26" creationId="{6BE00D4E-7F59-5DFB-A3ED-DCF8B7F98247}"/>
          </ac:spMkLst>
        </pc:spChg>
        <pc:spChg chg="add mod">
          <ac:chgData name="Shweta (IN30575)" userId="740a884f-5aa3-4010-8c0e-477202de9606" providerId="ADAL" clId="{61C7CAB1-AFB3-4022-99BC-BDDC5AA3A8CB}" dt="2025-06-11T10:32:16.034" v="43"/>
          <ac:spMkLst>
            <pc:docMk/>
            <pc:sldMk cId="662430822" sldId="2147483647"/>
            <ac:spMk id="27" creationId="{9AF5474F-A1E2-000D-A419-9CEEF31776DE}"/>
          </ac:spMkLst>
        </pc:spChg>
        <pc:spChg chg="add mod">
          <ac:chgData name="Shweta (IN30575)" userId="740a884f-5aa3-4010-8c0e-477202de9606" providerId="ADAL" clId="{61C7CAB1-AFB3-4022-99BC-BDDC5AA3A8CB}" dt="2025-06-11T10:32:16.034" v="43"/>
          <ac:spMkLst>
            <pc:docMk/>
            <pc:sldMk cId="662430822" sldId="2147483647"/>
            <ac:spMk id="28" creationId="{C798EDB9-750C-7FBD-1D2F-D240C1BC779E}"/>
          </ac:spMkLst>
        </pc:spChg>
        <pc:spChg chg="add mod">
          <ac:chgData name="Shweta (IN30575)" userId="740a884f-5aa3-4010-8c0e-477202de9606" providerId="ADAL" clId="{61C7CAB1-AFB3-4022-99BC-BDDC5AA3A8CB}" dt="2025-06-11T10:32:16.034" v="43"/>
          <ac:spMkLst>
            <pc:docMk/>
            <pc:sldMk cId="662430822" sldId="2147483647"/>
            <ac:spMk id="29" creationId="{B241A564-C745-8052-DF4F-87CB29552DD8}"/>
          </ac:spMkLst>
        </pc:spChg>
        <pc:spChg chg="mod">
          <ac:chgData name="Shweta (IN30575)" userId="740a884f-5aa3-4010-8c0e-477202de9606" providerId="ADAL" clId="{61C7CAB1-AFB3-4022-99BC-BDDC5AA3A8CB}" dt="2025-06-11T10:32:16.034" v="43"/>
          <ac:spMkLst>
            <pc:docMk/>
            <pc:sldMk cId="662430822" sldId="2147483647"/>
            <ac:spMk id="32" creationId="{E76E13D4-CA22-06FD-F7B6-33663D137CDB}"/>
          </ac:spMkLst>
        </pc:spChg>
        <pc:spChg chg="add mod">
          <ac:chgData name="Shweta (IN30575)" userId="740a884f-5aa3-4010-8c0e-477202de9606" providerId="ADAL" clId="{61C7CAB1-AFB3-4022-99BC-BDDC5AA3A8CB}" dt="2025-06-11T10:32:16.034" v="43"/>
          <ac:spMkLst>
            <pc:docMk/>
            <pc:sldMk cId="662430822" sldId="2147483647"/>
            <ac:spMk id="46" creationId="{80436504-2168-4E07-23D7-7526874ECC68}"/>
          </ac:spMkLst>
        </pc:spChg>
      </pc:sldChg>
      <pc:sldChg chg="del">
        <pc:chgData name="Shweta (IN30575)" userId="740a884f-5aa3-4010-8c0e-477202de9606" providerId="ADAL" clId="{61C7CAB1-AFB3-4022-99BC-BDDC5AA3A8CB}" dt="2025-06-11T09:58:46.616" v="18" actId="47"/>
        <pc:sldMkLst>
          <pc:docMk/>
          <pc:sldMk cId="1403422121" sldId="2147483647"/>
        </pc:sldMkLst>
      </pc:sldChg>
      <pc:sldMasterChg chg="delSldLayout">
        <pc:chgData name="Shweta (IN30575)" userId="740a884f-5aa3-4010-8c0e-477202de9606" providerId="ADAL" clId="{61C7CAB1-AFB3-4022-99BC-BDDC5AA3A8CB}" dt="2025-06-11T10:33:20.234" v="55" actId="47"/>
        <pc:sldMasterMkLst>
          <pc:docMk/>
          <pc:sldMasterMk cId="3165435964" sldId="2147483789"/>
        </pc:sldMasterMkLst>
        <pc:sldLayoutChg chg="del">
          <pc:chgData name="Shweta (IN30575)" userId="740a884f-5aa3-4010-8c0e-477202de9606" providerId="ADAL" clId="{61C7CAB1-AFB3-4022-99BC-BDDC5AA3A8CB}" dt="2025-06-11T10:33:20.234" v="55" actId="47"/>
          <pc:sldLayoutMkLst>
            <pc:docMk/>
            <pc:sldMasterMk cId="3165435964" sldId="2147483789"/>
            <pc:sldLayoutMk cId="3155142866" sldId="2147483847"/>
          </pc:sldLayoutMkLst>
        </pc:sldLayoutChg>
      </pc:sldMasterChg>
      <pc:sldMasterChg chg="delSldLayout">
        <pc:chgData name="Shweta (IN30575)" userId="740a884f-5aa3-4010-8c0e-477202de9606" providerId="ADAL" clId="{61C7CAB1-AFB3-4022-99BC-BDDC5AA3A8CB}" dt="2025-06-11T09:58:38.345" v="12" actId="47"/>
        <pc:sldMasterMkLst>
          <pc:docMk/>
          <pc:sldMasterMk cId="1968597181" sldId="2147483840"/>
        </pc:sldMasterMkLst>
        <pc:sldLayoutChg chg="del">
          <pc:chgData name="Shweta (IN30575)" userId="740a884f-5aa3-4010-8c0e-477202de9606" providerId="ADAL" clId="{61C7CAB1-AFB3-4022-99BC-BDDC5AA3A8CB}" dt="2025-06-11T09:58:33.288" v="9" actId="47"/>
          <pc:sldLayoutMkLst>
            <pc:docMk/>
            <pc:sldMasterMk cId="1968597181" sldId="2147483840"/>
            <pc:sldLayoutMk cId="1057845141" sldId="2147483846"/>
          </pc:sldLayoutMkLst>
        </pc:sldLayoutChg>
        <pc:sldLayoutChg chg="del">
          <pc:chgData name="Shweta (IN30575)" userId="740a884f-5aa3-4010-8c0e-477202de9606" providerId="ADAL" clId="{61C7CAB1-AFB3-4022-99BC-BDDC5AA3A8CB}" dt="2025-06-11T09:58:12.022" v="0" actId="47"/>
          <pc:sldLayoutMkLst>
            <pc:docMk/>
            <pc:sldMasterMk cId="1968597181" sldId="2147483840"/>
            <pc:sldLayoutMk cId="4118536653" sldId="2147483847"/>
          </pc:sldLayoutMkLst>
        </pc:sldLayoutChg>
        <pc:sldLayoutChg chg="del">
          <pc:chgData name="Shweta (IN30575)" userId="740a884f-5aa3-4010-8c0e-477202de9606" providerId="ADAL" clId="{61C7CAB1-AFB3-4022-99BC-BDDC5AA3A8CB}" dt="2025-06-11T09:58:38.345" v="12" actId="47"/>
          <pc:sldLayoutMkLst>
            <pc:docMk/>
            <pc:sldMasterMk cId="1968597181" sldId="2147483840"/>
            <pc:sldLayoutMk cId="3074949252" sldId="2147483849"/>
          </pc:sldLayoutMkLst>
        </pc:sldLayoutChg>
        <pc:sldLayoutChg chg="del">
          <pc:chgData name="Shweta (IN30575)" userId="740a884f-5aa3-4010-8c0e-477202de9606" providerId="ADAL" clId="{61C7CAB1-AFB3-4022-99BC-BDDC5AA3A8CB}" dt="2025-06-11T09:58:37.731" v="11" actId="47"/>
          <pc:sldLayoutMkLst>
            <pc:docMk/>
            <pc:sldMasterMk cId="1968597181" sldId="2147483840"/>
            <pc:sldLayoutMk cId="1208245041" sldId="2147483850"/>
          </pc:sldLayoutMkLst>
        </pc:sldLayoutChg>
        <pc:sldLayoutChg chg="del">
          <pc:chgData name="Shweta (IN30575)" userId="740a884f-5aa3-4010-8c0e-477202de9606" providerId="ADAL" clId="{61C7CAB1-AFB3-4022-99BC-BDDC5AA3A8CB}" dt="2025-06-11T09:58:30.875" v="8" actId="47"/>
          <pc:sldLayoutMkLst>
            <pc:docMk/>
            <pc:sldMasterMk cId="1968597181" sldId="2147483840"/>
            <pc:sldLayoutMk cId="3170261047" sldId="2147483852"/>
          </pc:sldLayoutMkLst>
        </pc:sldLayoutChg>
      </pc:sldMasterChg>
    </pc:docChg>
  </pc:docChgLst>
  <pc:docChgLst>
    <pc:chgData name="Sreyasi Sarkar" userId="c2278d44-5f98-4ee5-97aa-0ed0c979e821" providerId="ADAL" clId="{D8EBE0C9-05FC-4BAE-A0B2-D4B46F0BE895}"/>
    <pc:docChg chg="undo custSel addSld delSld modSld sldOrd modMainMaster modSection">
      <pc:chgData name="Sreyasi Sarkar" userId="c2278d44-5f98-4ee5-97aa-0ed0c979e821" providerId="ADAL" clId="{D8EBE0C9-05FC-4BAE-A0B2-D4B46F0BE895}" dt="2024-12-03T09:38:33.081" v="3484" actId="1037"/>
      <pc:docMkLst>
        <pc:docMk/>
      </pc:docMkLst>
      <pc:sldChg chg="addSp delSp modSp add del mod">
        <pc:chgData name="Sreyasi Sarkar" userId="c2278d44-5f98-4ee5-97aa-0ed0c979e821" providerId="ADAL" clId="{D8EBE0C9-05FC-4BAE-A0B2-D4B46F0BE895}" dt="2024-12-02T09:21:59.767" v="1935" actId="47"/>
        <pc:sldMkLst>
          <pc:docMk/>
          <pc:sldMk cId="3363520121" sldId="256"/>
        </pc:sldMkLst>
      </pc:sldChg>
      <pc:sldChg chg="addSp delSp modSp add mod">
        <pc:chgData name="Sreyasi Sarkar" userId="c2278d44-5f98-4ee5-97aa-0ed0c979e821" providerId="ADAL" clId="{D8EBE0C9-05FC-4BAE-A0B2-D4B46F0BE895}" dt="2024-12-02T09:32:25.153" v="1995" actId="478"/>
        <pc:sldMkLst>
          <pc:docMk/>
          <pc:sldMk cId="4157701899" sldId="256"/>
        </pc:sldMkLst>
      </pc:sldChg>
      <pc:sldChg chg="add ord">
        <pc:chgData name="Sreyasi Sarkar" userId="c2278d44-5f98-4ee5-97aa-0ed0c979e821" providerId="ADAL" clId="{D8EBE0C9-05FC-4BAE-A0B2-D4B46F0BE895}" dt="2024-12-03T08:53:19.119" v="3411"/>
        <pc:sldMkLst>
          <pc:docMk/>
          <pc:sldMk cId="1735154978" sldId="257"/>
        </pc:sldMkLst>
      </pc:sldChg>
      <pc:sldChg chg="addSp delSp modSp add mod ord">
        <pc:chgData name="Sreyasi Sarkar" userId="c2278d44-5f98-4ee5-97aa-0ed0c979e821" providerId="ADAL" clId="{D8EBE0C9-05FC-4BAE-A0B2-D4B46F0BE895}" dt="2024-12-02T09:55:14.691" v="2220"/>
        <pc:sldMkLst>
          <pc:docMk/>
          <pc:sldMk cId="2412123396" sldId="258"/>
        </pc:sldMkLst>
      </pc:sldChg>
      <pc:sldChg chg="add del">
        <pc:chgData name="Sreyasi Sarkar" userId="c2278d44-5f98-4ee5-97aa-0ed0c979e821" providerId="ADAL" clId="{D8EBE0C9-05FC-4BAE-A0B2-D4B46F0BE895}" dt="2024-12-02T08:48:44.407" v="843" actId="47"/>
        <pc:sldMkLst>
          <pc:docMk/>
          <pc:sldMk cId="1859443780" sldId="259"/>
        </pc:sldMkLst>
      </pc:sldChg>
      <pc:sldChg chg="del">
        <pc:chgData name="Sreyasi Sarkar" userId="c2278d44-5f98-4ee5-97aa-0ed0c979e821" providerId="ADAL" clId="{D8EBE0C9-05FC-4BAE-A0B2-D4B46F0BE895}" dt="2024-12-02T03:49:06.233" v="2" actId="47"/>
        <pc:sldMkLst>
          <pc:docMk/>
          <pc:sldMk cId="2987426608" sldId="260"/>
        </pc:sldMkLst>
      </pc:sldChg>
      <pc:sldChg chg="addSp delSp modSp add mod ord">
        <pc:chgData name="Sreyasi Sarkar" userId="c2278d44-5f98-4ee5-97aa-0ed0c979e821" providerId="ADAL" clId="{D8EBE0C9-05FC-4BAE-A0B2-D4B46F0BE895}" dt="2024-12-02T09:55:14.691" v="2220"/>
        <pc:sldMkLst>
          <pc:docMk/>
          <pc:sldMk cId="3137764900" sldId="260"/>
        </pc:sldMkLst>
      </pc:sldChg>
      <pc:sldChg chg="addSp delSp modSp add mod ord">
        <pc:chgData name="Sreyasi Sarkar" userId="c2278d44-5f98-4ee5-97aa-0ed0c979e821" providerId="ADAL" clId="{D8EBE0C9-05FC-4BAE-A0B2-D4B46F0BE895}" dt="2024-12-02T09:55:14.691" v="2220"/>
        <pc:sldMkLst>
          <pc:docMk/>
          <pc:sldMk cId="3003593629" sldId="261"/>
        </pc:sldMkLst>
      </pc:sldChg>
      <pc:sldChg chg="delSp modSp add mod">
        <pc:chgData name="Sreyasi Sarkar" userId="c2278d44-5f98-4ee5-97aa-0ed0c979e821" providerId="ADAL" clId="{D8EBE0C9-05FC-4BAE-A0B2-D4B46F0BE895}" dt="2024-12-02T09:32:21.650" v="1994" actId="478"/>
        <pc:sldMkLst>
          <pc:docMk/>
          <pc:sldMk cId="200929879" sldId="262"/>
        </pc:sldMkLst>
      </pc:sldChg>
      <pc:sldChg chg="addSp delSp modSp del mod">
        <pc:chgData name="Sreyasi Sarkar" userId="c2278d44-5f98-4ee5-97aa-0ed0c979e821" providerId="ADAL" clId="{D8EBE0C9-05FC-4BAE-A0B2-D4B46F0BE895}" dt="2024-12-02T10:15:59.441" v="2465" actId="47"/>
        <pc:sldMkLst>
          <pc:docMk/>
          <pc:sldMk cId="3233429570" sldId="263"/>
        </pc:sldMkLst>
      </pc:sldChg>
      <pc:sldChg chg="addSp delSp modSp mod">
        <pc:chgData name="Sreyasi Sarkar" userId="c2278d44-5f98-4ee5-97aa-0ed0c979e821" providerId="ADAL" clId="{D8EBE0C9-05FC-4BAE-A0B2-D4B46F0BE895}" dt="2024-12-03T09:38:33.081" v="3484" actId="1037"/>
        <pc:sldMkLst>
          <pc:docMk/>
          <pc:sldMk cId="3503998379" sldId="263"/>
        </pc:sldMkLst>
      </pc:sldChg>
      <pc:sldChg chg="del">
        <pc:chgData name="Sreyasi Sarkar" userId="c2278d44-5f98-4ee5-97aa-0ed0c979e821" providerId="ADAL" clId="{D8EBE0C9-05FC-4BAE-A0B2-D4B46F0BE895}" dt="2024-12-02T03:49:09.784" v="3" actId="47"/>
        <pc:sldMkLst>
          <pc:docMk/>
          <pc:sldMk cId="4059000559" sldId="263"/>
        </pc:sldMkLst>
      </pc:sldChg>
      <pc:sldChg chg="modSp mod">
        <pc:chgData name="Sreyasi Sarkar" userId="c2278d44-5f98-4ee5-97aa-0ed0c979e821" providerId="ADAL" clId="{D8EBE0C9-05FC-4BAE-A0B2-D4B46F0BE895}" dt="2024-12-03T09:09:06.925" v="3441" actId="20577"/>
        <pc:sldMkLst>
          <pc:docMk/>
          <pc:sldMk cId="611659120" sldId="265"/>
        </pc:sldMkLst>
      </pc:sldChg>
      <pc:sldChg chg="del">
        <pc:chgData name="Sreyasi Sarkar" userId="c2278d44-5f98-4ee5-97aa-0ed0c979e821" providerId="ADAL" clId="{D8EBE0C9-05FC-4BAE-A0B2-D4B46F0BE895}" dt="2024-12-02T03:49:28.945" v="6" actId="47"/>
        <pc:sldMkLst>
          <pc:docMk/>
          <pc:sldMk cId="3468492158" sldId="265"/>
        </pc:sldMkLst>
      </pc:sldChg>
      <pc:sldChg chg="modSp add mod">
        <pc:chgData name="Sreyasi Sarkar" userId="c2278d44-5f98-4ee5-97aa-0ed0c979e821" providerId="ADAL" clId="{D8EBE0C9-05FC-4BAE-A0B2-D4B46F0BE895}" dt="2024-12-03T08:55:02.490" v="3424" actId="1076"/>
        <pc:sldMkLst>
          <pc:docMk/>
          <pc:sldMk cId="645413251" sldId="266"/>
        </pc:sldMkLst>
      </pc:sldChg>
      <pc:sldChg chg="del">
        <pc:chgData name="Sreyasi Sarkar" userId="c2278d44-5f98-4ee5-97aa-0ed0c979e821" providerId="ADAL" clId="{D8EBE0C9-05FC-4BAE-A0B2-D4B46F0BE895}" dt="2024-12-02T03:49:03.633" v="1" actId="47"/>
        <pc:sldMkLst>
          <pc:docMk/>
          <pc:sldMk cId="1411952415" sldId="266"/>
        </pc:sldMkLst>
      </pc:sldChg>
      <pc:sldChg chg="modSp mod ord">
        <pc:chgData name="Sreyasi Sarkar" userId="c2278d44-5f98-4ee5-97aa-0ed0c979e821" providerId="ADAL" clId="{D8EBE0C9-05FC-4BAE-A0B2-D4B46F0BE895}" dt="2024-12-02T09:32:08.320" v="1991" actId="108"/>
        <pc:sldMkLst>
          <pc:docMk/>
          <pc:sldMk cId="1418291288" sldId="267"/>
        </pc:sldMkLst>
      </pc:sldChg>
      <pc:sldChg chg="del">
        <pc:chgData name="Sreyasi Sarkar" userId="c2278d44-5f98-4ee5-97aa-0ed0c979e821" providerId="ADAL" clId="{D8EBE0C9-05FC-4BAE-A0B2-D4B46F0BE895}" dt="2024-12-02T03:49:14.913" v="5" actId="47"/>
        <pc:sldMkLst>
          <pc:docMk/>
          <pc:sldMk cId="2783499687" sldId="269"/>
        </pc:sldMkLst>
      </pc:sldChg>
      <pc:sldChg chg="addSp delSp modSp del mod">
        <pc:chgData name="Sreyasi Sarkar" userId="c2278d44-5f98-4ee5-97aa-0ed0c979e821" providerId="ADAL" clId="{D8EBE0C9-05FC-4BAE-A0B2-D4B46F0BE895}" dt="2024-12-03T08:54:44.663" v="3423" actId="47"/>
        <pc:sldMkLst>
          <pc:docMk/>
          <pc:sldMk cId="4261119308" sldId="274"/>
        </pc:sldMkLst>
      </pc:sldChg>
      <pc:sldChg chg="modSp mod ord">
        <pc:chgData name="Sreyasi Sarkar" userId="c2278d44-5f98-4ee5-97aa-0ed0c979e821" providerId="ADAL" clId="{D8EBE0C9-05FC-4BAE-A0B2-D4B46F0BE895}" dt="2024-12-02T08:51:38.639" v="911"/>
        <pc:sldMkLst>
          <pc:docMk/>
          <pc:sldMk cId="541998673" sldId="275"/>
        </pc:sldMkLst>
      </pc:sldChg>
      <pc:sldChg chg="delSp modSp mod ord">
        <pc:chgData name="Sreyasi Sarkar" userId="c2278d44-5f98-4ee5-97aa-0ed0c979e821" providerId="ADAL" clId="{D8EBE0C9-05FC-4BAE-A0B2-D4B46F0BE895}" dt="2024-12-02T16:35:17.162" v="2731" actId="20577"/>
        <pc:sldMkLst>
          <pc:docMk/>
          <pc:sldMk cId="271193733" sldId="2147478529"/>
        </pc:sldMkLst>
      </pc:sldChg>
      <pc:sldChg chg="delSp modSp mod ord">
        <pc:chgData name="Sreyasi Sarkar" userId="c2278d44-5f98-4ee5-97aa-0ed0c979e821" providerId="ADAL" clId="{D8EBE0C9-05FC-4BAE-A0B2-D4B46F0BE895}" dt="2024-12-02T08:49:50.970" v="895" actId="478"/>
        <pc:sldMkLst>
          <pc:docMk/>
          <pc:sldMk cId="2508737062" sldId="2147478530"/>
        </pc:sldMkLst>
      </pc:sldChg>
      <pc:sldChg chg="modSp mod">
        <pc:chgData name="Sreyasi Sarkar" userId="c2278d44-5f98-4ee5-97aa-0ed0c979e821" providerId="ADAL" clId="{D8EBE0C9-05FC-4BAE-A0B2-D4B46F0BE895}" dt="2024-12-03T08:53:38.943" v="3412" actId="1076"/>
        <pc:sldMkLst>
          <pc:docMk/>
          <pc:sldMk cId="2239946370" sldId="2147478878"/>
        </pc:sldMkLst>
      </pc:sldChg>
      <pc:sldChg chg="del">
        <pc:chgData name="Sreyasi Sarkar" userId="c2278d44-5f98-4ee5-97aa-0ed0c979e821" providerId="ADAL" clId="{D8EBE0C9-05FC-4BAE-A0B2-D4B46F0BE895}" dt="2024-12-02T03:57:34.709" v="390" actId="47"/>
        <pc:sldMkLst>
          <pc:docMk/>
          <pc:sldMk cId="2836826844" sldId="2147479318"/>
        </pc:sldMkLst>
      </pc:sldChg>
      <pc:sldChg chg="modSp mod">
        <pc:chgData name="Sreyasi Sarkar" userId="c2278d44-5f98-4ee5-97aa-0ed0c979e821" providerId="ADAL" clId="{D8EBE0C9-05FC-4BAE-A0B2-D4B46F0BE895}" dt="2024-12-02T09:24:08.321" v="1948" actId="207"/>
        <pc:sldMkLst>
          <pc:docMk/>
          <pc:sldMk cId="1914734910" sldId="2147480087"/>
        </pc:sldMkLst>
      </pc:sldChg>
      <pc:sldChg chg="delSp mod">
        <pc:chgData name="Sreyasi Sarkar" userId="c2278d44-5f98-4ee5-97aa-0ed0c979e821" providerId="ADAL" clId="{D8EBE0C9-05FC-4BAE-A0B2-D4B46F0BE895}" dt="2024-12-02T09:54:59.838" v="2218" actId="478"/>
        <pc:sldMkLst>
          <pc:docMk/>
          <pc:sldMk cId="731103160" sldId="2147480090"/>
        </pc:sldMkLst>
      </pc:sldChg>
      <pc:sldChg chg="del">
        <pc:chgData name="Sreyasi Sarkar" userId="c2278d44-5f98-4ee5-97aa-0ed0c979e821" providerId="ADAL" clId="{D8EBE0C9-05FC-4BAE-A0B2-D4B46F0BE895}" dt="2024-12-02T03:32:44.037" v="0" actId="47"/>
        <pc:sldMkLst>
          <pc:docMk/>
          <pc:sldMk cId="446983194" sldId="2147480094"/>
        </pc:sldMkLst>
      </pc:sldChg>
      <pc:sldChg chg="modSp mod ord">
        <pc:chgData name="Sreyasi Sarkar" userId="c2278d44-5f98-4ee5-97aa-0ed0c979e821" providerId="ADAL" clId="{D8EBE0C9-05FC-4BAE-A0B2-D4B46F0BE895}" dt="2024-12-02T13:49:20.430" v="2730" actId="20577"/>
        <pc:sldMkLst>
          <pc:docMk/>
          <pc:sldMk cId="1530016816" sldId="2147480095"/>
        </pc:sldMkLst>
      </pc:sldChg>
      <pc:sldChg chg="modSp mod">
        <pc:chgData name="Sreyasi Sarkar" userId="c2278d44-5f98-4ee5-97aa-0ed0c979e821" providerId="ADAL" clId="{D8EBE0C9-05FC-4BAE-A0B2-D4B46F0BE895}" dt="2024-12-02T09:54:22.343" v="2217" actId="20577"/>
        <pc:sldMkLst>
          <pc:docMk/>
          <pc:sldMk cId="1596898208" sldId="2147480180"/>
        </pc:sldMkLst>
      </pc:sldChg>
      <pc:sldChg chg="addSp modSp del mod">
        <pc:chgData name="Sreyasi Sarkar" userId="c2278d44-5f98-4ee5-97aa-0ed0c979e821" providerId="ADAL" clId="{D8EBE0C9-05FC-4BAE-A0B2-D4B46F0BE895}" dt="2024-12-03T05:30:07.449" v="2734" actId="47"/>
        <pc:sldMkLst>
          <pc:docMk/>
          <pc:sldMk cId="2371672521" sldId="2147480184"/>
        </pc:sldMkLst>
      </pc:sldChg>
      <pc:sldChg chg="modSp mod">
        <pc:chgData name="Sreyasi Sarkar" userId="c2278d44-5f98-4ee5-97aa-0ed0c979e821" providerId="ADAL" clId="{D8EBE0C9-05FC-4BAE-A0B2-D4B46F0BE895}" dt="2024-12-02T08:51:30.634" v="909" actId="20577"/>
        <pc:sldMkLst>
          <pc:docMk/>
          <pc:sldMk cId="681045928" sldId="2147481034"/>
        </pc:sldMkLst>
      </pc:sldChg>
      <pc:sldChg chg="addSp delSp modSp mod">
        <pc:chgData name="Sreyasi Sarkar" userId="c2278d44-5f98-4ee5-97aa-0ed0c979e821" providerId="ADAL" clId="{D8EBE0C9-05FC-4BAE-A0B2-D4B46F0BE895}" dt="2024-12-03T08:25:52.919" v="3406" actId="108"/>
        <pc:sldMkLst>
          <pc:docMk/>
          <pc:sldMk cId="1761650007" sldId="2147481040"/>
        </pc:sldMkLst>
      </pc:sldChg>
      <pc:sldChg chg="addSp delSp modSp mod ord">
        <pc:chgData name="Sreyasi Sarkar" userId="c2278d44-5f98-4ee5-97aa-0ed0c979e821" providerId="ADAL" clId="{D8EBE0C9-05FC-4BAE-A0B2-D4B46F0BE895}" dt="2024-12-03T05:31:10.004" v="2738"/>
        <pc:sldMkLst>
          <pc:docMk/>
          <pc:sldMk cId="60158460" sldId="2147481057"/>
        </pc:sldMkLst>
      </pc:sldChg>
      <pc:sldChg chg="modSp mod">
        <pc:chgData name="Sreyasi Sarkar" userId="c2278d44-5f98-4ee5-97aa-0ed0c979e821" providerId="ADAL" clId="{D8EBE0C9-05FC-4BAE-A0B2-D4B46F0BE895}" dt="2024-12-02T04:30:30.781" v="564" actId="207"/>
        <pc:sldMkLst>
          <pc:docMk/>
          <pc:sldMk cId="3475244046" sldId="2147481143"/>
        </pc:sldMkLst>
      </pc:sldChg>
      <pc:sldChg chg="modSp mod">
        <pc:chgData name="Sreyasi Sarkar" userId="c2278d44-5f98-4ee5-97aa-0ed0c979e821" providerId="ADAL" clId="{D8EBE0C9-05FC-4BAE-A0B2-D4B46F0BE895}" dt="2024-12-02T04:30:10.359" v="561" actId="1076"/>
        <pc:sldMkLst>
          <pc:docMk/>
          <pc:sldMk cId="753377990" sldId="2147483629"/>
        </pc:sldMkLst>
      </pc:sldChg>
      <pc:sldChg chg="modSp mod">
        <pc:chgData name="Sreyasi Sarkar" userId="c2278d44-5f98-4ee5-97aa-0ed0c979e821" providerId="ADAL" clId="{D8EBE0C9-05FC-4BAE-A0B2-D4B46F0BE895}" dt="2024-12-02T04:44:51.709" v="705" actId="20577"/>
        <pc:sldMkLst>
          <pc:docMk/>
          <pc:sldMk cId="1013684766" sldId="2147483637"/>
        </pc:sldMkLst>
      </pc:sldChg>
      <pc:sldChg chg="modSp mod ord">
        <pc:chgData name="Sreyasi Sarkar" userId="c2278d44-5f98-4ee5-97aa-0ed0c979e821" providerId="ADAL" clId="{D8EBE0C9-05FC-4BAE-A0B2-D4B46F0BE895}" dt="2024-12-03T05:24:32.166" v="2733"/>
        <pc:sldMkLst>
          <pc:docMk/>
          <pc:sldMk cId="2731141310" sldId="2147483638"/>
        </pc:sldMkLst>
      </pc:sldChg>
      <pc:sldChg chg="addSp delSp modSp mod ord">
        <pc:chgData name="Sreyasi Sarkar" userId="c2278d44-5f98-4ee5-97aa-0ed0c979e821" providerId="ADAL" clId="{D8EBE0C9-05FC-4BAE-A0B2-D4B46F0BE895}" dt="2024-12-02T09:55:14.691" v="2220"/>
        <pc:sldMkLst>
          <pc:docMk/>
          <pc:sldMk cId="2629135691" sldId="2147483642"/>
        </pc:sldMkLst>
      </pc:sldChg>
      <pc:sldChg chg="del">
        <pc:chgData name="Sreyasi Sarkar" userId="c2278d44-5f98-4ee5-97aa-0ed0c979e821" providerId="ADAL" clId="{D8EBE0C9-05FC-4BAE-A0B2-D4B46F0BE895}" dt="2024-12-02T03:49:12.356" v="4" actId="47"/>
        <pc:sldMkLst>
          <pc:docMk/>
          <pc:sldMk cId="1402979788" sldId="2147483645"/>
        </pc:sldMkLst>
      </pc:sldChg>
      <pc:sldChg chg="modSp mod ord">
        <pc:chgData name="Sreyasi Sarkar" userId="c2278d44-5f98-4ee5-97aa-0ed0c979e821" providerId="ADAL" clId="{D8EBE0C9-05FC-4BAE-A0B2-D4B46F0BE895}" dt="2024-12-03T05:24:32.166" v="2733"/>
        <pc:sldMkLst>
          <pc:docMk/>
          <pc:sldMk cId="1403422121" sldId="2147483647"/>
        </pc:sldMkLst>
      </pc:sldChg>
      <pc:sldMasterChg chg="delSldLayout modSldLayout">
        <pc:chgData name="Sreyasi Sarkar" userId="c2278d44-5f98-4ee5-97aa-0ed0c979e821" providerId="ADAL" clId="{D8EBE0C9-05FC-4BAE-A0B2-D4B46F0BE895}" dt="2024-12-02T09:41:49.961" v="1997" actId="6549"/>
        <pc:sldMasterMkLst>
          <pc:docMk/>
          <pc:sldMasterMk cId="3165435964" sldId="2147483789"/>
        </pc:sldMasterMkLst>
        <pc:sldLayoutChg chg="modSp mod">
          <pc:chgData name="Sreyasi Sarkar" userId="c2278d44-5f98-4ee5-97aa-0ed0c979e821" providerId="ADAL" clId="{D8EBE0C9-05FC-4BAE-A0B2-D4B46F0BE895}" dt="2024-12-02T09:41:49.961" v="1997" actId="6549"/>
          <pc:sldLayoutMkLst>
            <pc:docMk/>
            <pc:sldMasterMk cId="3165435964" sldId="2147483789"/>
            <pc:sldLayoutMk cId="1279400254" sldId="2147483844"/>
          </pc:sldLayoutMkLst>
        </pc:sldLayoutChg>
        <pc:sldLayoutChg chg="modSp mod">
          <pc:chgData name="Sreyasi Sarkar" userId="c2278d44-5f98-4ee5-97aa-0ed0c979e821" providerId="ADAL" clId="{D8EBE0C9-05FC-4BAE-A0B2-D4B46F0BE895}" dt="2024-12-02T09:41:24.316" v="1996" actId="6549"/>
          <pc:sldLayoutMkLst>
            <pc:docMk/>
            <pc:sldMasterMk cId="3165435964" sldId="2147483789"/>
            <pc:sldLayoutMk cId="907561306" sldId="2147483845"/>
          </pc:sldLayoutMkLst>
        </pc:sldLayoutChg>
        <pc:sldLayoutChg chg="del">
          <pc:chgData name="Sreyasi Sarkar" userId="c2278d44-5f98-4ee5-97aa-0ed0c979e821" providerId="ADAL" clId="{D8EBE0C9-05FC-4BAE-A0B2-D4B46F0BE895}" dt="2024-12-02T03:57:34.709" v="390" actId="47"/>
          <pc:sldLayoutMkLst>
            <pc:docMk/>
            <pc:sldMasterMk cId="3165435964" sldId="2147483789"/>
            <pc:sldLayoutMk cId="998224207" sldId="2147483847"/>
          </pc:sldLayoutMkLst>
        </pc:sldLayoutChg>
      </pc:sldMasterChg>
      <pc:sldMasterChg chg="delSldLayout">
        <pc:chgData name="Sreyasi Sarkar" userId="c2278d44-5f98-4ee5-97aa-0ed0c979e821" providerId="ADAL" clId="{D8EBE0C9-05FC-4BAE-A0B2-D4B46F0BE895}" dt="2024-12-02T03:32:44.037" v="0" actId="47"/>
        <pc:sldMasterMkLst>
          <pc:docMk/>
          <pc:sldMasterMk cId="1968597181" sldId="2147483840"/>
        </pc:sldMasterMkLst>
        <pc:sldLayoutChg chg="del">
          <pc:chgData name="Sreyasi Sarkar" userId="c2278d44-5f98-4ee5-97aa-0ed0c979e821" providerId="ADAL" clId="{D8EBE0C9-05FC-4BAE-A0B2-D4B46F0BE895}" dt="2024-12-02T03:32:44.037" v="0" actId="47"/>
          <pc:sldLayoutMkLst>
            <pc:docMk/>
            <pc:sldMasterMk cId="1968597181" sldId="2147483840"/>
            <pc:sldLayoutMk cId="4216619231" sldId="2147483846"/>
          </pc:sldLayoutMkLst>
        </pc:sldLayoutChg>
      </pc:sldMasterChg>
    </pc:docChg>
  </pc:docChgLst>
  <pc:docChgLst>
    <pc:chgData name="Ashutosh Dhananjay Bhamare" userId="990e45cb-1c5c-421b-ace5-d19bb915f6ac" providerId="ADAL" clId="{2498C7DF-6086-454C-BE01-1B670FBE8314}"/>
    <pc:docChg chg="undo custSel addSld delSld modSld delMainMaster modMainMaster modSection">
      <pc:chgData name="Ashutosh Dhananjay Bhamare" userId="990e45cb-1c5c-421b-ace5-d19bb915f6ac" providerId="ADAL" clId="{2498C7DF-6086-454C-BE01-1B670FBE8314}" dt="2025-06-26T15:26:37.956" v="62" actId="47"/>
      <pc:docMkLst>
        <pc:docMk/>
      </pc:docMkLst>
      <pc:sldChg chg="modSp new mod">
        <pc:chgData name="Ashutosh Dhananjay Bhamare" userId="990e45cb-1c5c-421b-ace5-d19bb915f6ac" providerId="ADAL" clId="{2498C7DF-6086-454C-BE01-1B670FBE8314}" dt="2025-06-26T15:21:43.161" v="24" actId="20577"/>
        <pc:sldMkLst>
          <pc:docMk/>
          <pc:sldMk cId="2198321401" sldId="256"/>
        </pc:sldMkLst>
        <pc:spChg chg="mod">
          <ac:chgData name="Ashutosh Dhananjay Bhamare" userId="990e45cb-1c5c-421b-ace5-d19bb915f6ac" providerId="ADAL" clId="{2498C7DF-6086-454C-BE01-1B670FBE8314}" dt="2025-06-26T15:21:43.161" v="24" actId="20577"/>
          <ac:spMkLst>
            <pc:docMk/>
            <pc:sldMk cId="2198321401" sldId="256"/>
            <ac:spMk id="2" creationId="{6A2116E6-EC53-0596-EF59-44DC4CC57EDD}"/>
          </ac:spMkLst>
        </pc:spChg>
      </pc:sldChg>
      <pc:sldChg chg="addSp modSp add del mod modClrScheme chgLayout">
        <pc:chgData name="Ashutosh Dhananjay Bhamare" userId="990e45cb-1c5c-421b-ace5-d19bb915f6ac" providerId="ADAL" clId="{2498C7DF-6086-454C-BE01-1B670FBE8314}" dt="2025-06-26T15:21:22.620" v="20" actId="47"/>
        <pc:sldMkLst>
          <pc:docMk/>
          <pc:sldMk cId="3461040876" sldId="256"/>
        </pc:sldMkLst>
        <pc:spChg chg="add mod ord">
          <ac:chgData name="Ashutosh Dhananjay Bhamare" userId="990e45cb-1c5c-421b-ace5-d19bb915f6ac" providerId="ADAL" clId="{2498C7DF-6086-454C-BE01-1B670FBE8314}" dt="2025-06-26T15:21:14.329" v="19" actId="700"/>
          <ac:spMkLst>
            <pc:docMk/>
            <pc:sldMk cId="3461040876" sldId="256"/>
            <ac:spMk id="2" creationId="{D9596D47-053A-C2E8-49E6-00E4EC0C9A14}"/>
          </ac:spMkLst>
        </pc:spChg>
      </pc:sldChg>
      <pc:sldChg chg="addSp modSp mod modClrScheme chgLayout">
        <pc:chgData name="Ashutosh Dhananjay Bhamare" userId="990e45cb-1c5c-421b-ace5-d19bb915f6ac" providerId="ADAL" clId="{2498C7DF-6086-454C-BE01-1B670FBE8314}" dt="2025-06-26T15:23:40.153" v="41" actId="20577"/>
        <pc:sldMkLst>
          <pc:docMk/>
          <pc:sldMk cId="2392813521" sldId="257"/>
        </pc:sldMkLst>
        <pc:spChg chg="mod">
          <ac:chgData name="Ashutosh Dhananjay Bhamare" userId="990e45cb-1c5c-421b-ace5-d19bb915f6ac" providerId="ADAL" clId="{2498C7DF-6086-454C-BE01-1B670FBE8314}" dt="2025-06-26T15:23:36.285" v="38" actId="21"/>
          <ac:spMkLst>
            <pc:docMk/>
            <pc:sldMk cId="2392813521" sldId="257"/>
            <ac:spMk id="3" creationId="{650E19D4-335F-6ED4-BA2B-A462B829F915}"/>
          </ac:spMkLst>
        </pc:spChg>
        <pc:spChg chg="add mod ord">
          <ac:chgData name="Ashutosh Dhananjay Bhamare" userId="990e45cb-1c5c-421b-ace5-d19bb915f6ac" providerId="ADAL" clId="{2498C7DF-6086-454C-BE01-1B670FBE8314}" dt="2025-06-26T15:23:40.153" v="41" actId="20577"/>
          <ac:spMkLst>
            <pc:docMk/>
            <pc:sldMk cId="2392813521" sldId="257"/>
            <ac:spMk id="63" creationId="{932945CE-13F8-6B1F-606C-1BF277A01625}"/>
          </ac:spMkLst>
        </pc:spChg>
      </pc:sldChg>
      <pc:sldChg chg="addSp delSp modSp mod modClrScheme chgLayout">
        <pc:chgData name="Ashutosh Dhananjay Bhamare" userId="990e45cb-1c5c-421b-ace5-d19bb915f6ac" providerId="ADAL" clId="{2498C7DF-6086-454C-BE01-1B670FBE8314}" dt="2025-06-26T15:23:24.930" v="36" actId="478"/>
        <pc:sldMkLst>
          <pc:docMk/>
          <pc:sldMk cId="3520350992" sldId="258"/>
        </pc:sldMkLst>
        <pc:spChg chg="add mod ord">
          <ac:chgData name="Ashutosh Dhananjay Bhamare" userId="990e45cb-1c5c-421b-ace5-d19bb915f6ac" providerId="ADAL" clId="{2498C7DF-6086-454C-BE01-1B670FBE8314}" dt="2025-06-26T15:23:20.129" v="35" actId="20577"/>
          <ac:spMkLst>
            <pc:docMk/>
            <pc:sldMk cId="3520350992" sldId="258"/>
            <ac:spMk id="2" creationId="{4C0587D9-49DB-E44D-8D18-670F3B013352}"/>
          </ac:spMkLst>
        </pc:spChg>
        <pc:spChg chg="del mod">
          <ac:chgData name="Ashutosh Dhananjay Bhamare" userId="990e45cb-1c5c-421b-ace5-d19bb915f6ac" providerId="ADAL" clId="{2498C7DF-6086-454C-BE01-1B670FBE8314}" dt="2025-06-26T15:23:24.930" v="36" actId="478"/>
          <ac:spMkLst>
            <pc:docMk/>
            <pc:sldMk cId="3520350992" sldId="258"/>
            <ac:spMk id="64" creationId="{54A14D0D-BAEF-0182-7C42-7D6C40DFCA1F}"/>
          </ac:spMkLst>
        </pc:spChg>
      </pc:sldChg>
      <pc:sldChg chg="del">
        <pc:chgData name="Ashutosh Dhananjay Bhamare" userId="990e45cb-1c5c-421b-ace5-d19bb915f6ac" providerId="ADAL" clId="{2498C7DF-6086-454C-BE01-1B670FBE8314}" dt="2025-06-26T15:26:37.956" v="62" actId="47"/>
        <pc:sldMkLst>
          <pc:docMk/>
          <pc:sldMk cId="1859443780" sldId="259"/>
        </pc:sldMkLst>
      </pc:sldChg>
      <pc:sldChg chg="addSp delSp modSp mod modClrScheme chgLayout">
        <pc:chgData name="Ashutosh Dhananjay Bhamare" userId="990e45cb-1c5c-421b-ace5-d19bb915f6ac" providerId="ADAL" clId="{2498C7DF-6086-454C-BE01-1B670FBE8314}" dt="2025-06-26T15:25:07.882" v="55" actId="6264"/>
        <pc:sldMkLst>
          <pc:docMk/>
          <pc:sldMk cId="1411952415" sldId="266"/>
        </pc:sldMkLst>
        <pc:spChg chg="mod ord">
          <ac:chgData name="Ashutosh Dhananjay Bhamare" userId="990e45cb-1c5c-421b-ace5-d19bb915f6ac" providerId="ADAL" clId="{2498C7DF-6086-454C-BE01-1B670FBE8314}" dt="2025-06-26T15:25:07.882" v="55" actId="6264"/>
          <ac:spMkLst>
            <pc:docMk/>
            <pc:sldMk cId="1411952415" sldId="266"/>
            <ac:spMk id="2" creationId="{1DAAF6C8-41E1-F1D2-1570-5CFAEB001315}"/>
          </ac:spMkLst>
        </pc:spChg>
        <pc:spChg chg="add del mod">
          <ac:chgData name="Ashutosh Dhananjay Bhamare" userId="990e45cb-1c5c-421b-ace5-d19bb915f6ac" providerId="ADAL" clId="{2498C7DF-6086-454C-BE01-1B670FBE8314}" dt="2025-06-26T15:25:07.882" v="55" actId="6264"/>
          <ac:spMkLst>
            <pc:docMk/>
            <pc:sldMk cId="1411952415" sldId="266"/>
            <ac:spMk id="10" creationId="{1D30D52C-8379-F408-4260-FC776646472C}"/>
          </ac:spMkLst>
        </pc:spChg>
      </pc:sldChg>
      <pc:sldChg chg="addSp delSp modSp mod modClrScheme chgLayout">
        <pc:chgData name="Ashutosh Dhananjay Bhamare" userId="990e45cb-1c5c-421b-ace5-d19bb915f6ac" providerId="ADAL" clId="{2498C7DF-6086-454C-BE01-1B670FBE8314}" dt="2025-06-26T15:20:56.516" v="16" actId="478"/>
        <pc:sldMkLst>
          <pc:docMk/>
          <pc:sldMk cId="541998673" sldId="275"/>
        </pc:sldMkLst>
        <pc:spChg chg="add del mod">
          <ac:chgData name="Ashutosh Dhananjay Bhamare" userId="990e45cb-1c5c-421b-ace5-d19bb915f6ac" providerId="ADAL" clId="{2498C7DF-6086-454C-BE01-1B670FBE8314}" dt="2025-06-26T15:20:50.367" v="15" actId="6264"/>
          <ac:spMkLst>
            <pc:docMk/>
            <pc:sldMk cId="541998673" sldId="275"/>
            <ac:spMk id="4" creationId="{4F7EF20E-81C1-2C78-985D-963F2264099A}"/>
          </ac:spMkLst>
        </pc:spChg>
        <pc:spChg chg="mod ord">
          <ac:chgData name="Ashutosh Dhananjay Bhamare" userId="990e45cb-1c5c-421b-ace5-d19bb915f6ac" providerId="ADAL" clId="{2498C7DF-6086-454C-BE01-1B670FBE8314}" dt="2025-06-26T15:20:50.367" v="15" actId="6264"/>
          <ac:spMkLst>
            <pc:docMk/>
            <pc:sldMk cId="541998673" sldId="275"/>
            <ac:spMk id="36" creationId="{B957AE7A-CAC8-275D-FC3E-14572B4F9C7B}"/>
          </ac:spMkLst>
        </pc:spChg>
        <pc:grpChg chg="del">
          <ac:chgData name="Ashutosh Dhananjay Bhamare" userId="990e45cb-1c5c-421b-ace5-d19bb915f6ac" providerId="ADAL" clId="{2498C7DF-6086-454C-BE01-1B670FBE8314}" dt="2025-06-26T15:20:56.516" v="16" actId="478"/>
          <ac:grpSpMkLst>
            <pc:docMk/>
            <pc:sldMk cId="541998673" sldId="275"/>
            <ac:grpSpMk id="169" creationId="{3BAC02C4-FF80-1685-CF37-94C0CB2FCF0E}"/>
          </ac:grpSpMkLst>
        </pc:grpChg>
      </pc:sldChg>
      <pc:sldChg chg="modSp add mod">
        <pc:chgData name="Ashutosh Dhananjay Bhamare" userId="990e45cb-1c5c-421b-ace5-d19bb915f6ac" providerId="ADAL" clId="{2498C7DF-6086-454C-BE01-1B670FBE8314}" dt="2025-06-26T15:19:04.039" v="5"/>
        <pc:sldMkLst>
          <pc:docMk/>
          <pc:sldMk cId="475294938" sldId="314"/>
        </pc:sldMkLst>
        <pc:spChg chg="mod">
          <ac:chgData name="Ashutosh Dhananjay Bhamare" userId="990e45cb-1c5c-421b-ace5-d19bb915f6ac" providerId="ADAL" clId="{2498C7DF-6086-454C-BE01-1B670FBE8314}" dt="2025-06-26T15:19:04.039" v="5"/>
          <ac:spMkLst>
            <pc:docMk/>
            <pc:sldMk cId="475294938" sldId="314"/>
            <ac:spMk id="7" creationId="{CBA18D43-991C-B16B-2C0F-2C49EC4F352A}"/>
          </ac:spMkLst>
        </pc:spChg>
      </pc:sldChg>
      <pc:sldChg chg="addSp delSp modSp mod modClrScheme chgLayout">
        <pc:chgData name="Ashutosh Dhananjay Bhamare" userId="990e45cb-1c5c-421b-ace5-d19bb915f6ac" providerId="ADAL" clId="{2498C7DF-6086-454C-BE01-1B670FBE8314}" dt="2025-06-26T15:25:52.256" v="60" actId="478"/>
        <pc:sldMkLst>
          <pc:docMk/>
          <pc:sldMk cId="1914734910" sldId="2147480087"/>
        </pc:sldMkLst>
        <pc:spChg chg="add mod ord">
          <ac:chgData name="Ashutosh Dhananjay Bhamare" userId="990e45cb-1c5c-421b-ace5-d19bb915f6ac" providerId="ADAL" clId="{2498C7DF-6086-454C-BE01-1B670FBE8314}" dt="2025-06-26T15:25:47.715" v="59" actId="20577"/>
          <ac:spMkLst>
            <pc:docMk/>
            <pc:sldMk cId="1914734910" sldId="2147480087"/>
            <ac:spMk id="2" creationId="{9A8170FF-66B1-0D95-99B9-74515BF2162D}"/>
          </ac:spMkLst>
        </pc:spChg>
        <pc:spChg chg="del mod">
          <ac:chgData name="Ashutosh Dhananjay Bhamare" userId="990e45cb-1c5c-421b-ace5-d19bb915f6ac" providerId="ADAL" clId="{2498C7DF-6086-454C-BE01-1B670FBE8314}" dt="2025-06-26T15:25:52.256" v="60" actId="478"/>
          <ac:spMkLst>
            <pc:docMk/>
            <pc:sldMk cId="1914734910" sldId="2147480087"/>
            <ac:spMk id="10" creationId="{1D3B6DC9-788F-4308-EA13-DE89AB4A0C4B}"/>
          </ac:spMkLst>
        </pc:spChg>
      </pc:sldChg>
      <pc:sldChg chg="del">
        <pc:chgData name="Ashutosh Dhananjay Bhamare" userId="990e45cb-1c5c-421b-ace5-d19bb915f6ac" providerId="ADAL" clId="{2498C7DF-6086-454C-BE01-1B670FBE8314}" dt="2025-06-26T15:22:06.949" v="25" actId="47"/>
        <pc:sldMkLst>
          <pc:docMk/>
          <pc:sldMk cId="681045928" sldId="2147481034"/>
        </pc:sldMkLst>
      </pc:sldChg>
      <pc:sldChg chg="addSp delSp modSp mod modClrScheme chgLayout">
        <pc:chgData name="Ashutosh Dhananjay Bhamare" userId="990e45cb-1c5c-421b-ace5-d19bb915f6ac" providerId="ADAL" clId="{2498C7DF-6086-454C-BE01-1B670FBE8314}" dt="2025-06-26T15:23:07.303" v="31" actId="478"/>
        <pc:sldMkLst>
          <pc:docMk/>
          <pc:sldMk cId="1761650007" sldId="2147481040"/>
        </pc:sldMkLst>
        <pc:spChg chg="add mod ord">
          <ac:chgData name="Ashutosh Dhananjay Bhamare" userId="990e45cb-1c5c-421b-ace5-d19bb915f6ac" providerId="ADAL" clId="{2498C7DF-6086-454C-BE01-1B670FBE8314}" dt="2025-06-26T15:22:55.796" v="30" actId="20577"/>
          <ac:spMkLst>
            <pc:docMk/>
            <pc:sldMk cId="1761650007" sldId="2147481040"/>
            <ac:spMk id="2" creationId="{5F973CE9-BACA-5DE9-303A-DA7F0DD1F82D}"/>
          </ac:spMkLst>
        </pc:spChg>
        <pc:spChg chg="mod">
          <ac:chgData name="Ashutosh Dhananjay Bhamare" userId="990e45cb-1c5c-421b-ace5-d19bb915f6ac" providerId="ADAL" clId="{2498C7DF-6086-454C-BE01-1B670FBE8314}" dt="2025-06-26T15:22:52.273" v="28" actId="21"/>
          <ac:spMkLst>
            <pc:docMk/>
            <pc:sldMk cId="1761650007" sldId="2147481040"/>
            <ac:spMk id="42" creationId="{933DB1ED-9E96-A86D-FC11-62A4BF2D759F}"/>
          </ac:spMkLst>
        </pc:spChg>
        <pc:grpChg chg="del">
          <ac:chgData name="Ashutosh Dhananjay Bhamare" userId="990e45cb-1c5c-421b-ace5-d19bb915f6ac" providerId="ADAL" clId="{2498C7DF-6086-454C-BE01-1B670FBE8314}" dt="2025-06-26T15:23:07.303" v="31" actId="478"/>
          <ac:grpSpMkLst>
            <pc:docMk/>
            <pc:sldMk cId="1761650007" sldId="2147481040"/>
            <ac:grpSpMk id="30" creationId="{0C416A1C-24A6-EC78-CB8B-5F3BCE0EC415}"/>
          </ac:grpSpMkLst>
        </pc:grpChg>
      </pc:sldChg>
      <pc:sldChg chg="addSp delSp modSp mod modClrScheme chgLayout">
        <pc:chgData name="Ashutosh Dhananjay Bhamare" userId="990e45cb-1c5c-421b-ace5-d19bb915f6ac" providerId="ADAL" clId="{2498C7DF-6086-454C-BE01-1B670FBE8314}" dt="2025-06-26T15:21:00.226" v="17" actId="478"/>
        <pc:sldMkLst>
          <pc:docMk/>
          <pc:sldMk cId="3475244046" sldId="2147481143"/>
        </pc:sldMkLst>
        <pc:spChg chg="mod ord">
          <ac:chgData name="Ashutosh Dhananjay Bhamare" userId="990e45cb-1c5c-421b-ace5-d19bb915f6ac" providerId="ADAL" clId="{2498C7DF-6086-454C-BE01-1B670FBE8314}" dt="2025-06-26T15:20:44.182" v="14" actId="6264"/>
          <ac:spMkLst>
            <pc:docMk/>
            <pc:sldMk cId="3475244046" sldId="2147481143"/>
            <ac:spMk id="2" creationId="{D0CF93C1-C194-D50E-8229-03621BE902B6}"/>
          </ac:spMkLst>
        </pc:spChg>
        <pc:spChg chg="add del mod">
          <ac:chgData name="Ashutosh Dhananjay Bhamare" userId="990e45cb-1c5c-421b-ace5-d19bb915f6ac" providerId="ADAL" clId="{2498C7DF-6086-454C-BE01-1B670FBE8314}" dt="2025-06-26T15:20:44.182" v="14" actId="6264"/>
          <ac:spMkLst>
            <pc:docMk/>
            <pc:sldMk cId="3475244046" sldId="2147481143"/>
            <ac:spMk id="35" creationId="{55A4B149-EA74-0B2E-607B-4462B0017D4A}"/>
          </ac:spMkLst>
        </pc:spChg>
        <pc:grpChg chg="del">
          <ac:chgData name="Ashutosh Dhananjay Bhamare" userId="990e45cb-1c5c-421b-ace5-d19bb915f6ac" providerId="ADAL" clId="{2498C7DF-6086-454C-BE01-1B670FBE8314}" dt="2025-06-26T15:21:00.226" v="17" actId="478"/>
          <ac:grpSpMkLst>
            <pc:docMk/>
            <pc:sldMk cId="3475244046" sldId="2147481143"/>
            <ac:grpSpMk id="169" creationId="{E891414C-0084-B422-6BA0-DCF528B04B5A}"/>
          </ac:grpSpMkLst>
        </pc:grpChg>
      </pc:sldChg>
      <pc:sldChg chg="add">
        <pc:chgData name="Ashutosh Dhananjay Bhamare" userId="990e45cb-1c5c-421b-ace5-d19bb915f6ac" providerId="ADAL" clId="{2498C7DF-6086-454C-BE01-1B670FBE8314}" dt="2025-06-26T15:26:35.462" v="61"/>
        <pc:sldMkLst>
          <pc:docMk/>
          <pc:sldMk cId="4214631934" sldId="2147481665"/>
        </pc:sldMkLst>
      </pc:sldChg>
      <pc:sldChg chg="addSp modSp mod modClrScheme chgLayout">
        <pc:chgData name="Ashutosh Dhananjay Bhamare" userId="990e45cb-1c5c-421b-ace5-d19bb915f6ac" providerId="ADAL" clId="{2498C7DF-6086-454C-BE01-1B670FBE8314}" dt="2025-06-26T15:20:24.418" v="12" actId="1076"/>
        <pc:sldMkLst>
          <pc:docMk/>
          <pc:sldMk cId="753377990" sldId="2147483629"/>
        </pc:sldMkLst>
        <pc:spChg chg="add mod ord">
          <ac:chgData name="Ashutosh Dhananjay Bhamare" userId="990e45cb-1c5c-421b-ace5-d19bb915f6ac" providerId="ADAL" clId="{2498C7DF-6086-454C-BE01-1B670FBE8314}" dt="2025-06-26T15:20:07.771" v="10" actId="20577"/>
          <ac:spMkLst>
            <pc:docMk/>
            <pc:sldMk cId="753377990" sldId="2147483629"/>
            <ac:spMk id="3" creationId="{280F862D-678A-DB77-F360-1DF31DFB3EE4}"/>
          </ac:spMkLst>
        </pc:spChg>
        <pc:spChg chg="mod">
          <ac:chgData name="Ashutosh Dhananjay Bhamare" userId="990e45cb-1c5c-421b-ace5-d19bb915f6ac" providerId="ADAL" clId="{2498C7DF-6086-454C-BE01-1B670FBE8314}" dt="2025-06-26T15:20:24.418" v="12" actId="1076"/>
          <ac:spMkLst>
            <pc:docMk/>
            <pc:sldMk cId="753377990" sldId="2147483629"/>
            <ac:spMk id="74" creationId="{FBF4C578-B949-69C3-19FE-97552432EA06}"/>
          </ac:spMkLst>
        </pc:spChg>
      </pc:sldChg>
      <pc:sldChg chg="del">
        <pc:chgData name="Ashutosh Dhananjay Bhamare" userId="990e45cb-1c5c-421b-ace5-d19bb915f6ac" providerId="ADAL" clId="{2498C7DF-6086-454C-BE01-1B670FBE8314}" dt="2025-06-26T15:19:14.335" v="6" actId="47"/>
        <pc:sldMkLst>
          <pc:docMk/>
          <pc:sldMk cId="1013684766" sldId="2147483637"/>
        </pc:sldMkLst>
      </pc:sldChg>
      <pc:sldChg chg="addSp delSp modSp mod modClrScheme chgLayout">
        <pc:chgData name="Ashutosh Dhananjay Bhamare" userId="990e45cb-1c5c-421b-ace5-d19bb915f6ac" providerId="ADAL" clId="{2498C7DF-6086-454C-BE01-1B670FBE8314}" dt="2025-06-26T15:25:31.951" v="56" actId="478"/>
        <pc:sldMkLst>
          <pc:docMk/>
          <pc:sldMk cId="1714468334" sldId="2147483639"/>
        </pc:sldMkLst>
        <pc:spChg chg="add del mod ord">
          <ac:chgData name="Ashutosh Dhananjay Bhamare" userId="990e45cb-1c5c-421b-ace5-d19bb915f6ac" providerId="ADAL" clId="{2498C7DF-6086-454C-BE01-1B670FBE8314}" dt="2025-06-26T15:25:31.951" v="56" actId="478"/>
          <ac:spMkLst>
            <pc:docMk/>
            <pc:sldMk cId="1714468334" sldId="2147483639"/>
            <ac:spMk id="2" creationId="{7AC191CF-BCE1-0310-9BAC-D28AF66C048F}"/>
          </ac:spMkLst>
        </pc:spChg>
      </pc:sldChg>
      <pc:sldChg chg="addSp delSp modSp mod modClrScheme chgLayout">
        <pc:chgData name="Ashutosh Dhananjay Bhamare" userId="990e45cb-1c5c-421b-ace5-d19bb915f6ac" providerId="ADAL" clId="{2498C7DF-6086-454C-BE01-1B670FBE8314}" dt="2025-06-26T15:24:48.614" v="54" actId="478"/>
        <pc:sldMkLst>
          <pc:docMk/>
          <pc:sldMk cId="1466246676" sldId="2147483646"/>
        </pc:sldMkLst>
        <pc:spChg chg="add mod ord">
          <ac:chgData name="Ashutosh Dhananjay Bhamare" userId="990e45cb-1c5c-421b-ace5-d19bb915f6ac" providerId="ADAL" clId="{2498C7DF-6086-454C-BE01-1B670FBE8314}" dt="2025-06-26T15:24:36.112" v="53" actId="20577"/>
          <ac:spMkLst>
            <pc:docMk/>
            <pc:sldMk cId="1466246676" sldId="2147483646"/>
            <ac:spMk id="78" creationId="{0CF19B1E-2780-B02D-133D-19C0B865F3D0}"/>
          </ac:spMkLst>
        </pc:spChg>
        <pc:spChg chg="del mod">
          <ac:chgData name="Ashutosh Dhananjay Bhamare" userId="990e45cb-1c5c-421b-ace5-d19bb915f6ac" providerId="ADAL" clId="{2498C7DF-6086-454C-BE01-1B670FBE8314}" dt="2025-06-26T15:24:48.614" v="54" actId="478"/>
          <ac:spMkLst>
            <pc:docMk/>
            <pc:sldMk cId="1466246676" sldId="2147483646"/>
            <ac:spMk id="82" creationId="{696D3B4F-3A01-B2D3-9868-59934DC82A8C}"/>
          </ac:spMkLst>
        </pc:spChg>
      </pc:sldChg>
      <pc:sldChg chg="addSp delSp modSp mod modClrScheme chgLayout">
        <pc:chgData name="Ashutosh Dhananjay Bhamare" userId="990e45cb-1c5c-421b-ace5-d19bb915f6ac" providerId="ADAL" clId="{2498C7DF-6086-454C-BE01-1B670FBE8314}" dt="2025-06-26T15:24:16.272" v="48" actId="478"/>
        <pc:sldMkLst>
          <pc:docMk/>
          <pc:sldMk cId="662430822" sldId="2147483647"/>
        </pc:sldMkLst>
        <pc:spChg chg="del mod">
          <ac:chgData name="Ashutosh Dhananjay Bhamare" userId="990e45cb-1c5c-421b-ace5-d19bb915f6ac" providerId="ADAL" clId="{2498C7DF-6086-454C-BE01-1B670FBE8314}" dt="2025-06-26T15:24:16.272" v="48" actId="478"/>
          <ac:spMkLst>
            <pc:docMk/>
            <pc:sldMk cId="662430822" sldId="2147483647"/>
            <ac:spMk id="2" creationId="{72653450-B14B-1D37-8649-03ED31551E2A}"/>
          </ac:spMkLst>
        </pc:spChg>
        <pc:spChg chg="add mod ord">
          <ac:chgData name="Ashutosh Dhananjay Bhamare" userId="990e45cb-1c5c-421b-ace5-d19bb915f6ac" providerId="ADAL" clId="{2498C7DF-6086-454C-BE01-1B670FBE8314}" dt="2025-06-26T15:24:11.140" v="47" actId="20577"/>
          <ac:spMkLst>
            <pc:docMk/>
            <pc:sldMk cId="662430822" sldId="2147483647"/>
            <ac:spMk id="68" creationId="{D799D02F-C711-B4C7-F93C-CA97C8D69248}"/>
          </ac:spMkLst>
        </pc:spChg>
      </pc:sldChg>
      <pc:sldMasterChg chg="del delSldLayout">
        <pc:chgData name="Ashutosh Dhananjay Bhamare" userId="990e45cb-1c5c-421b-ace5-d19bb915f6ac" providerId="ADAL" clId="{2498C7DF-6086-454C-BE01-1B670FBE8314}" dt="2025-06-26T15:22:40.637" v="26" actId="700"/>
        <pc:sldMasterMkLst>
          <pc:docMk/>
          <pc:sldMasterMk cId="3165435964" sldId="2147483789"/>
        </pc:sldMasterMkLst>
        <pc:sldLayoutChg chg="del">
          <pc:chgData name="Ashutosh Dhananjay Bhamare" userId="990e45cb-1c5c-421b-ace5-d19bb915f6ac" providerId="ADAL" clId="{2498C7DF-6086-454C-BE01-1B670FBE8314}" dt="2025-06-26T15:22:40.637" v="26" actId="700"/>
          <pc:sldLayoutMkLst>
            <pc:docMk/>
            <pc:sldMasterMk cId="3165435964" sldId="2147483789"/>
            <pc:sldLayoutMk cId="4257536020" sldId="2147483790"/>
          </pc:sldLayoutMkLst>
        </pc:sldLayoutChg>
        <pc:sldLayoutChg chg="del">
          <pc:chgData name="Ashutosh Dhananjay Bhamare" userId="990e45cb-1c5c-421b-ace5-d19bb915f6ac" providerId="ADAL" clId="{2498C7DF-6086-454C-BE01-1B670FBE8314}" dt="2025-06-26T15:19:14.335" v="6" actId="47"/>
          <pc:sldLayoutMkLst>
            <pc:docMk/>
            <pc:sldMasterMk cId="3165435964" sldId="2147483789"/>
            <pc:sldLayoutMk cId="691305222" sldId="2147483791"/>
          </pc:sldLayoutMkLst>
        </pc:sldLayoutChg>
        <pc:sldLayoutChg chg="del">
          <pc:chgData name="Ashutosh Dhananjay Bhamare" userId="990e45cb-1c5c-421b-ace5-d19bb915f6ac" providerId="ADAL" clId="{2498C7DF-6086-454C-BE01-1B670FBE8314}" dt="2025-06-26T15:22:40.637" v="26" actId="700"/>
          <pc:sldLayoutMkLst>
            <pc:docMk/>
            <pc:sldMasterMk cId="3165435964" sldId="2147483789"/>
            <pc:sldLayoutMk cId="1279400254" sldId="2147483844"/>
          </pc:sldLayoutMkLst>
        </pc:sldLayoutChg>
        <pc:sldLayoutChg chg="del">
          <pc:chgData name="Ashutosh Dhananjay Bhamare" userId="990e45cb-1c5c-421b-ace5-d19bb915f6ac" providerId="ADAL" clId="{2498C7DF-6086-454C-BE01-1B670FBE8314}" dt="2025-06-26T15:22:40.637" v="26" actId="700"/>
          <pc:sldLayoutMkLst>
            <pc:docMk/>
            <pc:sldMasterMk cId="3165435964" sldId="2147483789"/>
            <pc:sldLayoutMk cId="907561306" sldId="2147483845"/>
          </pc:sldLayoutMkLst>
        </pc:sldLayoutChg>
        <pc:sldLayoutChg chg="del">
          <pc:chgData name="Ashutosh Dhananjay Bhamare" userId="990e45cb-1c5c-421b-ace5-d19bb915f6ac" providerId="ADAL" clId="{2498C7DF-6086-454C-BE01-1B670FBE8314}" dt="2025-06-26T15:22:40.637" v="26" actId="700"/>
          <pc:sldLayoutMkLst>
            <pc:docMk/>
            <pc:sldMasterMk cId="3165435964" sldId="2147483789"/>
            <pc:sldLayoutMk cId="4283753153" sldId="2147483846"/>
          </pc:sldLayoutMkLst>
        </pc:sldLayoutChg>
      </pc:sldMasterChg>
      <pc:sldMasterChg chg="del delSldLayout">
        <pc:chgData name="Ashutosh Dhananjay Bhamare" userId="990e45cb-1c5c-421b-ace5-d19bb915f6ac" providerId="ADAL" clId="{2498C7DF-6086-454C-BE01-1B670FBE8314}" dt="2025-06-26T15:26:37.956" v="62" actId="47"/>
        <pc:sldMasterMkLst>
          <pc:docMk/>
          <pc:sldMasterMk cId="1968597181" sldId="2147483840"/>
        </pc:sldMasterMkLst>
        <pc:sldLayoutChg chg="del">
          <pc:chgData name="Ashutosh Dhananjay Bhamare" userId="990e45cb-1c5c-421b-ace5-d19bb915f6ac" providerId="ADAL" clId="{2498C7DF-6086-454C-BE01-1B670FBE8314}" dt="2025-06-26T15:26:37.956" v="62" actId="47"/>
          <pc:sldLayoutMkLst>
            <pc:docMk/>
            <pc:sldMasterMk cId="1968597181" sldId="2147483840"/>
            <pc:sldLayoutMk cId="2136967363" sldId="2147483841"/>
          </pc:sldLayoutMkLst>
        </pc:sldLayoutChg>
        <pc:sldLayoutChg chg="del">
          <pc:chgData name="Ashutosh Dhananjay Bhamare" userId="990e45cb-1c5c-421b-ace5-d19bb915f6ac" providerId="ADAL" clId="{2498C7DF-6086-454C-BE01-1B670FBE8314}" dt="2025-06-26T15:26:37.956" v="62" actId="47"/>
          <pc:sldLayoutMkLst>
            <pc:docMk/>
            <pc:sldMasterMk cId="1968597181" sldId="2147483840"/>
            <pc:sldLayoutMk cId="134135487" sldId="2147483842"/>
          </pc:sldLayoutMkLst>
        </pc:sldLayoutChg>
        <pc:sldLayoutChg chg="del">
          <pc:chgData name="Ashutosh Dhananjay Bhamare" userId="990e45cb-1c5c-421b-ace5-d19bb915f6ac" providerId="ADAL" clId="{2498C7DF-6086-454C-BE01-1B670FBE8314}" dt="2025-06-26T15:26:37.956" v="62" actId="47"/>
          <pc:sldLayoutMkLst>
            <pc:docMk/>
            <pc:sldMasterMk cId="1968597181" sldId="2147483840"/>
            <pc:sldLayoutMk cId="34844783" sldId="2147483843"/>
          </pc:sldLayoutMkLst>
        </pc:sldLayoutChg>
      </pc:sldMasterChg>
      <pc:sldMasterChg chg="modSldLayout">
        <pc:chgData name="Ashutosh Dhananjay Bhamare" userId="990e45cb-1c5c-421b-ace5-d19bb915f6ac" providerId="ADAL" clId="{2498C7DF-6086-454C-BE01-1B670FBE8314}" dt="2025-06-26T15:18:48.692" v="4" actId="478"/>
        <pc:sldMasterMkLst>
          <pc:docMk/>
          <pc:sldMasterMk cId="1966005328" sldId="2147483859"/>
        </pc:sldMasterMkLst>
        <pc:sldLayoutChg chg="addSp delSp mod">
          <pc:chgData name="Ashutosh Dhananjay Bhamare" userId="990e45cb-1c5c-421b-ace5-d19bb915f6ac" providerId="ADAL" clId="{2498C7DF-6086-454C-BE01-1B670FBE8314}" dt="2025-06-26T15:18:48.692" v="4" actId="478"/>
          <pc:sldLayoutMkLst>
            <pc:docMk/>
            <pc:sldMasterMk cId="1966005328" sldId="2147483859"/>
            <pc:sldLayoutMk cId="3895962443" sldId="2147483867"/>
          </pc:sldLayoutMkLst>
          <pc:spChg chg="add del">
            <ac:chgData name="Ashutosh Dhananjay Bhamare" userId="990e45cb-1c5c-421b-ace5-d19bb915f6ac" providerId="ADAL" clId="{2498C7DF-6086-454C-BE01-1B670FBE8314}" dt="2025-06-26T15:18:48.498" v="3" actId="478"/>
            <ac:spMkLst>
              <pc:docMk/>
              <pc:sldMasterMk cId="1966005328" sldId="2147483859"/>
              <pc:sldLayoutMk cId="3895962443" sldId="2147483867"/>
              <ac:spMk id="2" creationId="{ECE03DCE-30C9-F426-C00F-B9F460DC72B9}"/>
            </ac:spMkLst>
          </pc:spChg>
          <pc:spChg chg="add del">
            <ac:chgData name="Ashutosh Dhananjay Bhamare" userId="990e45cb-1c5c-421b-ace5-d19bb915f6ac" providerId="ADAL" clId="{2498C7DF-6086-454C-BE01-1B670FBE8314}" dt="2025-06-26T15:18:48.692" v="4" actId="478"/>
            <ac:spMkLst>
              <pc:docMk/>
              <pc:sldMasterMk cId="1966005328" sldId="2147483859"/>
              <pc:sldLayoutMk cId="3895962443" sldId="2147483867"/>
              <ac:spMk id="3" creationId="{74C22D51-73B5-F05B-D4A5-8E57C78EC35B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C412D67-2B4E-9F55-6EDC-F2256BD021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668C3D-E520-C942-CFB7-27E263C06F0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5296E7-6EEA-4CEF-8F27-97AAB1939405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EDE418-482A-7A43-F10A-2705951C158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3D5FD8-B708-FF93-D8FD-7A2F3AD6180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78EA95-EEDE-466E-B94C-8B572EEF9C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9948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E2AB6D-BFFB-4052-9F68-6FA93F8CC18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9D77E2-AA40-4977-9A33-3A163DAC33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2883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49C79E-0F0D-4D9B-A029-EA5BAB8DBACD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83606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55EEE5-F3D1-4ABB-BBE7-0F54210C7C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ヒラギノ角ゴ Pro W3" pitchFamily="12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ヒラギノ角ゴ Pro W3" pitchFamily="12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73867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/>
              <a:t>recogni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2F618F-9CFD-F345-B1CB-7DCCED22C4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08258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09C2F7-3DF1-754B-3716-9D7296F1CF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1A0709-CB37-2D27-FE9E-C37C804432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723A13-745A-E0E4-3CEE-71ACE2B1EB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F82668-000D-9672-D772-35086E11B4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2F618F-9CFD-F345-B1CB-7DCCED22C4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78095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55EEE5-F3D1-4ABB-BBE7-0F54210C7C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ヒラギノ角ゴ Pro W3" pitchFamily="12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ヒラギノ角ゴ Pro W3" pitchFamily="12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94611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93911-B5C3-4B2B-A6DF-9644F3A3EB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0834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921309-F855-A9C2-3777-606411680B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0C6F2C-B0A6-977B-6587-6B08A49BAE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60F298-DEF7-AA56-E8D1-9CE0EE863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5D4BD2-A1D0-3F07-B28F-227AC2574E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764D7A-FF25-457B-9124-B8E0D8DD4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782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576F4-2015-92AD-C22A-1226451F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A4397F-3CE4-0665-A614-4EE3D4A8FF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0B747E-96E8-A44D-5626-6181ED3AF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8A1F6C-9402-D422-FBEF-7DB2DC4B7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06884-3B0E-6A9D-56F6-6CB25196F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485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53A9B4-6A9E-A23B-8C03-266524BB992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E0D0EF-077B-3697-EB9E-E386F74E2F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4F53B4-0485-0374-AFDF-7046CDEF5C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916FB7-D72C-2E93-26FF-FC97C943FD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6ABC5-1AA6-4B5F-358D-B435F383C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128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80FF08B0-6541-4A91-9683-8739591638F7}"/>
              </a:ext>
            </a:extLst>
          </p:cNvPr>
          <p:cNvGrpSpPr/>
          <p:nvPr userDrawn="1"/>
        </p:nvGrpSpPr>
        <p:grpSpPr>
          <a:xfrm>
            <a:off x="11270657" y="6352155"/>
            <a:ext cx="915495" cy="505845"/>
            <a:chOff x="11180725" y="6293644"/>
            <a:chExt cx="1011275" cy="564356"/>
          </a:xfrm>
        </p:grpSpPr>
        <p:sp>
          <p:nvSpPr>
            <p:cNvPr id="19" name="Rectangle 2">
              <a:extLst>
                <a:ext uri="{FF2B5EF4-FFF2-40B4-BE49-F238E27FC236}">
                  <a16:creationId xmlns:a16="http://schemas.microsoft.com/office/drawing/2014/main" id="{F2D60BE3-C360-40F2-8C37-DAD103A65635}"/>
                </a:ext>
              </a:extLst>
            </p:cNvPr>
            <p:cNvSpPr/>
            <p:nvPr userDrawn="1"/>
          </p:nvSpPr>
          <p:spPr bwMode="auto">
            <a:xfrm>
              <a:off x="11403806" y="6293644"/>
              <a:ext cx="788194" cy="564356"/>
            </a:xfrm>
            <a:custGeom>
              <a:avLst/>
              <a:gdLst>
                <a:gd name="connsiteX0" fmla="*/ 0 w 788194"/>
                <a:gd name="connsiteY0" fmla="*/ 0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0 w 788194"/>
                <a:gd name="connsiteY4" fmla="*/ 0 h 564356"/>
                <a:gd name="connsiteX0" fmla="*/ 276225 w 788194"/>
                <a:gd name="connsiteY0" fmla="*/ 228600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276225 w 788194"/>
                <a:gd name="connsiteY4" fmla="*/ 228600 h 564356"/>
                <a:gd name="connsiteX0" fmla="*/ 385763 w 788194"/>
                <a:gd name="connsiteY0" fmla="*/ 411957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385763 w 788194"/>
                <a:gd name="connsiteY4" fmla="*/ 411957 h 564356"/>
                <a:gd name="connsiteX0" fmla="*/ 328613 w 788194"/>
                <a:gd name="connsiteY0" fmla="*/ 328613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328613 w 788194"/>
                <a:gd name="connsiteY4" fmla="*/ 328613 h 564356"/>
                <a:gd name="connsiteX0" fmla="*/ 0 w 788194"/>
                <a:gd name="connsiteY0" fmla="*/ 564356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8194" h="564356">
                  <a:moveTo>
                    <a:pt x="0" y="564356"/>
                  </a:moveTo>
                  <a:lnTo>
                    <a:pt x="788194" y="0"/>
                  </a:lnTo>
                  <a:lnTo>
                    <a:pt x="788194" y="564356"/>
                  </a:lnTo>
                  <a:lnTo>
                    <a:pt x="0" y="564356"/>
                  </a:lnTo>
                  <a:close/>
                </a:path>
              </a:pathLst>
            </a:custGeom>
            <a:gradFill>
              <a:gsLst>
                <a:gs pos="0">
                  <a:srgbClr val="2165AC"/>
                </a:gs>
                <a:gs pos="57000">
                  <a:srgbClr val="383081"/>
                </a:gs>
              </a:gsLst>
              <a:lin ang="8400000" scaled="0"/>
            </a:gra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endParaRPr>
            </a:p>
          </p:txBody>
        </p:sp>
        <p:sp>
          <p:nvSpPr>
            <p:cNvPr id="20" name="Rectangle 2">
              <a:extLst>
                <a:ext uri="{FF2B5EF4-FFF2-40B4-BE49-F238E27FC236}">
                  <a16:creationId xmlns:a16="http://schemas.microsoft.com/office/drawing/2014/main" id="{B5E3C1B3-8317-47B2-AF11-8FD9E04C1572}"/>
                </a:ext>
              </a:extLst>
            </p:cNvPr>
            <p:cNvSpPr/>
            <p:nvPr userDrawn="1"/>
          </p:nvSpPr>
          <p:spPr bwMode="auto">
            <a:xfrm>
              <a:off x="11180725" y="6524624"/>
              <a:ext cx="559595" cy="333376"/>
            </a:xfrm>
            <a:custGeom>
              <a:avLst/>
              <a:gdLst>
                <a:gd name="connsiteX0" fmla="*/ 0 w 788194"/>
                <a:gd name="connsiteY0" fmla="*/ 0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0 w 788194"/>
                <a:gd name="connsiteY4" fmla="*/ 0 h 564356"/>
                <a:gd name="connsiteX0" fmla="*/ 276225 w 788194"/>
                <a:gd name="connsiteY0" fmla="*/ 228600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276225 w 788194"/>
                <a:gd name="connsiteY4" fmla="*/ 228600 h 564356"/>
                <a:gd name="connsiteX0" fmla="*/ 385763 w 788194"/>
                <a:gd name="connsiteY0" fmla="*/ 411957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385763 w 788194"/>
                <a:gd name="connsiteY4" fmla="*/ 411957 h 564356"/>
                <a:gd name="connsiteX0" fmla="*/ 328613 w 788194"/>
                <a:gd name="connsiteY0" fmla="*/ 328613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328613 w 788194"/>
                <a:gd name="connsiteY4" fmla="*/ 328613 h 564356"/>
                <a:gd name="connsiteX0" fmla="*/ 0 w 788194"/>
                <a:gd name="connsiteY0" fmla="*/ 564356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0" fmla="*/ 0 w 1114426"/>
                <a:gd name="connsiteY0" fmla="*/ 230981 h 230981"/>
                <a:gd name="connsiteX1" fmla="*/ 1114426 w 1114426"/>
                <a:gd name="connsiteY1" fmla="*/ 0 h 230981"/>
                <a:gd name="connsiteX2" fmla="*/ 788194 w 1114426"/>
                <a:gd name="connsiteY2" fmla="*/ 230981 h 230981"/>
                <a:gd name="connsiteX3" fmla="*/ 0 w 1114426"/>
                <a:gd name="connsiteY3" fmla="*/ 230981 h 230981"/>
                <a:gd name="connsiteX0" fmla="*/ 0 w 559595"/>
                <a:gd name="connsiteY0" fmla="*/ 0 h 326232"/>
                <a:gd name="connsiteX1" fmla="*/ 559595 w 559595"/>
                <a:gd name="connsiteY1" fmla="*/ 95251 h 326232"/>
                <a:gd name="connsiteX2" fmla="*/ 233363 w 559595"/>
                <a:gd name="connsiteY2" fmla="*/ 326232 h 326232"/>
                <a:gd name="connsiteX3" fmla="*/ 0 w 559595"/>
                <a:gd name="connsiteY3" fmla="*/ 0 h 326232"/>
                <a:gd name="connsiteX0" fmla="*/ 0 w 559595"/>
                <a:gd name="connsiteY0" fmla="*/ 0 h 342901"/>
                <a:gd name="connsiteX1" fmla="*/ 559595 w 559595"/>
                <a:gd name="connsiteY1" fmla="*/ 95251 h 342901"/>
                <a:gd name="connsiteX2" fmla="*/ 214313 w 559595"/>
                <a:gd name="connsiteY2" fmla="*/ 342901 h 342901"/>
                <a:gd name="connsiteX3" fmla="*/ 0 w 559595"/>
                <a:gd name="connsiteY3" fmla="*/ 0 h 342901"/>
                <a:gd name="connsiteX0" fmla="*/ 0 w 559595"/>
                <a:gd name="connsiteY0" fmla="*/ 0 h 333376"/>
                <a:gd name="connsiteX1" fmla="*/ 559595 w 559595"/>
                <a:gd name="connsiteY1" fmla="*/ 95251 h 333376"/>
                <a:gd name="connsiteX2" fmla="*/ 223838 w 559595"/>
                <a:gd name="connsiteY2" fmla="*/ 333376 h 333376"/>
                <a:gd name="connsiteX3" fmla="*/ 0 w 559595"/>
                <a:gd name="connsiteY3" fmla="*/ 0 h 333376"/>
                <a:gd name="connsiteX0" fmla="*/ 0 w 559595"/>
                <a:gd name="connsiteY0" fmla="*/ 0 h 333376"/>
                <a:gd name="connsiteX1" fmla="*/ 559595 w 559595"/>
                <a:gd name="connsiteY1" fmla="*/ 95251 h 333376"/>
                <a:gd name="connsiteX2" fmla="*/ 223838 w 559595"/>
                <a:gd name="connsiteY2" fmla="*/ 333376 h 333376"/>
                <a:gd name="connsiteX3" fmla="*/ 0 w 559595"/>
                <a:gd name="connsiteY3" fmla="*/ 0 h 33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9595" h="333376">
                  <a:moveTo>
                    <a:pt x="0" y="0"/>
                  </a:moveTo>
                  <a:lnTo>
                    <a:pt x="559595" y="95251"/>
                  </a:lnTo>
                  <a:lnTo>
                    <a:pt x="223838" y="333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AB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462" y="399823"/>
            <a:ext cx="11459013" cy="369332"/>
          </a:xfrm>
        </p:spPr>
        <p:txBody>
          <a:bodyPr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400" b="1" i="0" baseline="0" dirty="0">
                <a:solidFill>
                  <a:srgbClr val="2C2D8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115005" y="6466165"/>
            <a:ext cx="3945465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67">
                <a:solidFill>
                  <a:srgbClr val="7C7C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Larsen &amp; Toubro Infotech Ltd. Privileged and Confidentia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4F2BE0-3FA0-423B-BB26-C90A3EF3A2C6}"/>
              </a:ext>
            </a:extLst>
          </p:cNvPr>
          <p:cNvGrpSpPr/>
          <p:nvPr userDrawn="1"/>
        </p:nvGrpSpPr>
        <p:grpSpPr>
          <a:xfrm rot="16200000">
            <a:off x="-113631" y="436687"/>
            <a:ext cx="512961" cy="280727"/>
            <a:chOff x="39695" y="453173"/>
            <a:chExt cx="219075" cy="28072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D2F216F-004C-4F00-917F-1C8D37DEB539}"/>
                </a:ext>
              </a:extLst>
            </p:cNvPr>
            <p:cNvSpPr/>
            <p:nvPr userDrawn="1"/>
          </p:nvSpPr>
          <p:spPr>
            <a:xfrm>
              <a:off x="39695" y="453173"/>
              <a:ext cx="219075" cy="223102"/>
            </a:xfrm>
            <a:prstGeom prst="rect">
              <a:avLst/>
            </a:prstGeom>
            <a:solidFill>
              <a:srgbClr val="2C2E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0AE82B8-695E-4D60-83F0-EAC00DD7D6D2}"/>
                </a:ext>
              </a:extLst>
            </p:cNvPr>
            <p:cNvSpPr/>
            <p:nvPr userDrawn="1"/>
          </p:nvSpPr>
          <p:spPr>
            <a:xfrm>
              <a:off x="39695" y="688180"/>
              <a:ext cx="219075" cy="45719"/>
            </a:xfrm>
            <a:prstGeom prst="rect">
              <a:avLst/>
            </a:prstGeom>
            <a:solidFill>
              <a:srgbClr val="F588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5B1B1C7F-188E-49B8-BFC8-9BEC7BD903D5}"/>
              </a:ext>
            </a:extLst>
          </p:cNvPr>
          <p:cNvSpPr/>
          <p:nvPr userDrawn="1"/>
        </p:nvSpPr>
        <p:spPr>
          <a:xfrm>
            <a:off x="11752551" y="6491881"/>
            <a:ext cx="3962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051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 descr="C:\Users\10630824\Desktop\Microot template\LTI logo (2).png">
            <a:extLst>
              <a:ext uri="{FF2B5EF4-FFF2-40B4-BE49-F238E27FC236}">
                <a16:creationId xmlns:a16="http://schemas.microsoft.com/office/drawing/2014/main" id="{254FC1D5-F7C6-494E-967E-E2B1D685C0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136" y="6523809"/>
            <a:ext cx="470187" cy="274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3875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1" name="Group 240">
            <a:extLst>
              <a:ext uri="{FF2B5EF4-FFF2-40B4-BE49-F238E27FC236}">
                <a16:creationId xmlns:a16="http://schemas.microsoft.com/office/drawing/2014/main" id="{102EC4F6-885A-4063-9819-99210A42F5AA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57DD5F4D-B548-4B8E-8288-60A2095521D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id="{FB16147A-0EE6-4328-B246-F226A5757FFE}"/>
                </a:ext>
              </a:extLst>
            </p:cNvPr>
            <p:cNvGrpSpPr/>
            <p:nvPr userDrawn="1"/>
          </p:nvGrpSpPr>
          <p:grpSpPr>
            <a:xfrm>
              <a:off x="1555986" y="856421"/>
              <a:ext cx="9080028" cy="5884993"/>
              <a:chOff x="2140626" y="1606612"/>
              <a:chExt cx="7253162" cy="4654413"/>
            </a:xfrm>
            <a:solidFill>
              <a:sysClr val="windowText" lastClr="000000">
                <a:alpha val="5000"/>
              </a:sysClr>
            </a:solidFill>
            <a:effectLst/>
          </p:grpSpPr>
          <p:sp>
            <p:nvSpPr>
              <p:cNvPr id="244" name="Freeform 130">
                <a:extLst>
                  <a:ext uri="{FF2B5EF4-FFF2-40B4-BE49-F238E27FC236}">
                    <a16:creationId xmlns:a16="http://schemas.microsoft.com/office/drawing/2014/main" id="{522FE460-9A62-401E-B25B-D1226620BC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429" y="3325973"/>
                <a:ext cx="117075" cy="172889"/>
              </a:xfrm>
              <a:custGeom>
                <a:avLst/>
                <a:gdLst/>
                <a:ahLst/>
                <a:cxnLst>
                  <a:cxn ang="0">
                    <a:pos x="9" y="54"/>
                  </a:cxn>
                  <a:cxn ang="0">
                    <a:pos x="21" y="115"/>
                  </a:cxn>
                  <a:cxn ang="0">
                    <a:pos x="51" y="115"/>
                  </a:cxn>
                  <a:cxn ang="0">
                    <a:pos x="61" y="90"/>
                  </a:cxn>
                  <a:cxn ang="0">
                    <a:pos x="86" y="127"/>
                  </a:cxn>
                  <a:cxn ang="0">
                    <a:pos x="86" y="101"/>
                  </a:cxn>
                  <a:cxn ang="0">
                    <a:pos x="76" y="65"/>
                  </a:cxn>
                  <a:cxn ang="0">
                    <a:pos x="76" y="79"/>
                  </a:cxn>
                  <a:cxn ang="0">
                    <a:pos x="51" y="65"/>
                  </a:cxn>
                  <a:cxn ang="0">
                    <a:pos x="51" y="54"/>
                  </a:cxn>
                  <a:cxn ang="0">
                    <a:pos x="76" y="25"/>
                  </a:cxn>
                  <a:cxn ang="0">
                    <a:pos x="31" y="25"/>
                  </a:cxn>
                  <a:cxn ang="0">
                    <a:pos x="21" y="0"/>
                  </a:cxn>
                  <a:cxn ang="0">
                    <a:pos x="9" y="0"/>
                  </a:cxn>
                  <a:cxn ang="0">
                    <a:pos x="0" y="0"/>
                  </a:cxn>
                  <a:cxn ang="0">
                    <a:pos x="0" y="11"/>
                  </a:cxn>
                  <a:cxn ang="0">
                    <a:pos x="9" y="25"/>
                  </a:cxn>
                  <a:cxn ang="0">
                    <a:pos x="0" y="36"/>
                  </a:cxn>
                  <a:cxn ang="0">
                    <a:pos x="9" y="54"/>
                  </a:cxn>
                </a:cxnLst>
                <a:rect l="0" t="0" r="r" b="b"/>
                <a:pathLst>
                  <a:path w="86" h="127">
                    <a:moveTo>
                      <a:pt x="9" y="54"/>
                    </a:moveTo>
                    <a:lnTo>
                      <a:pt x="21" y="115"/>
                    </a:lnTo>
                    <a:lnTo>
                      <a:pt x="51" y="115"/>
                    </a:lnTo>
                    <a:lnTo>
                      <a:pt x="61" y="90"/>
                    </a:lnTo>
                    <a:lnTo>
                      <a:pt x="86" y="127"/>
                    </a:lnTo>
                    <a:lnTo>
                      <a:pt x="86" y="101"/>
                    </a:lnTo>
                    <a:lnTo>
                      <a:pt x="76" y="65"/>
                    </a:lnTo>
                    <a:lnTo>
                      <a:pt x="76" y="79"/>
                    </a:lnTo>
                    <a:lnTo>
                      <a:pt x="51" y="65"/>
                    </a:lnTo>
                    <a:lnTo>
                      <a:pt x="51" y="54"/>
                    </a:lnTo>
                    <a:lnTo>
                      <a:pt x="76" y="25"/>
                    </a:lnTo>
                    <a:lnTo>
                      <a:pt x="31" y="25"/>
                    </a:lnTo>
                    <a:lnTo>
                      <a:pt x="21" y="0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11"/>
                    </a:lnTo>
                    <a:lnTo>
                      <a:pt x="9" y="25"/>
                    </a:lnTo>
                    <a:lnTo>
                      <a:pt x="0" y="36"/>
                    </a:lnTo>
                    <a:lnTo>
                      <a:pt x="9" y="5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45" name="Group 244">
                <a:extLst>
                  <a:ext uri="{FF2B5EF4-FFF2-40B4-BE49-F238E27FC236}">
                    <a16:creationId xmlns:a16="http://schemas.microsoft.com/office/drawing/2014/main" id="{737E98FF-3AA4-4554-A83F-A233DFB09389}"/>
                  </a:ext>
                </a:extLst>
              </p:cNvPr>
              <p:cNvGrpSpPr/>
              <p:nvPr/>
            </p:nvGrpSpPr>
            <p:grpSpPr>
              <a:xfrm>
                <a:off x="2140626" y="1904745"/>
                <a:ext cx="957015" cy="699727"/>
                <a:chOff x="276225" y="1165233"/>
                <a:chExt cx="1116014" cy="815980"/>
              </a:xfrm>
              <a:grpFill/>
            </p:grpSpPr>
            <p:sp>
              <p:nvSpPr>
                <p:cNvPr id="467" name="Freeform 371">
                  <a:extLst>
                    <a:ext uri="{FF2B5EF4-FFF2-40B4-BE49-F238E27FC236}">
                      <a16:creationId xmlns:a16="http://schemas.microsoft.com/office/drawing/2014/main" id="{8A3A083C-61A7-4A37-AC75-3879203DE9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888" y="1595448"/>
                  <a:ext cx="85725" cy="57150"/>
                </a:xfrm>
                <a:custGeom>
                  <a:avLst/>
                  <a:gdLst/>
                  <a:ahLst/>
                  <a:cxnLst>
                    <a:cxn ang="0">
                      <a:pos x="0" y="36"/>
                    </a:cxn>
                    <a:cxn ang="0">
                      <a:pos x="54" y="0"/>
                    </a:cxn>
                    <a:cxn ang="0">
                      <a:pos x="54" y="11"/>
                    </a:cxn>
                    <a:cxn ang="0">
                      <a:pos x="44" y="11"/>
                    </a:cxn>
                    <a:cxn ang="0">
                      <a:pos x="44" y="21"/>
                    </a:cxn>
                    <a:cxn ang="0">
                      <a:pos x="0" y="36"/>
                    </a:cxn>
                  </a:cxnLst>
                  <a:rect l="0" t="0" r="r" b="b"/>
                  <a:pathLst>
                    <a:path w="54" h="36">
                      <a:moveTo>
                        <a:pt x="0" y="36"/>
                      </a:moveTo>
                      <a:lnTo>
                        <a:pt x="54" y="0"/>
                      </a:lnTo>
                      <a:lnTo>
                        <a:pt x="54" y="11"/>
                      </a:lnTo>
                      <a:lnTo>
                        <a:pt x="44" y="11"/>
                      </a:lnTo>
                      <a:lnTo>
                        <a:pt x="44" y="21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8" name="Freeform 247">
                  <a:extLst>
                    <a:ext uri="{FF2B5EF4-FFF2-40B4-BE49-F238E27FC236}">
                      <a16:creationId xmlns:a16="http://schemas.microsoft.com/office/drawing/2014/main" id="{2DF52504-1181-4FF6-B514-8EC64505EB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225" y="1165233"/>
                  <a:ext cx="1116014" cy="593729"/>
                </a:xfrm>
                <a:custGeom>
                  <a:avLst/>
                  <a:gdLst/>
                  <a:ahLst/>
                  <a:cxnLst>
                    <a:cxn ang="0">
                      <a:pos x="703" y="36"/>
                    </a:cxn>
                    <a:cxn ang="0">
                      <a:pos x="580" y="14"/>
                    </a:cxn>
                    <a:cxn ang="0">
                      <a:pos x="549" y="0"/>
                    </a:cxn>
                    <a:cxn ang="0">
                      <a:pos x="440" y="24"/>
                    </a:cxn>
                    <a:cxn ang="0">
                      <a:pos x="341" y="50"/>
                    </a:cxn>
                    <a:cxn ang="0">
                      <a:pos x="341" y="72"/>
                    </a:cxn>
                    <a:cxn ang="0">
                      <a:pos x="341" y="101"/>
                    </a:cxn>
                    <a:cxn ang="0">
                      <a:pos x="305" y="101"/>
                    </a:cxn>
                    <a:cxn ang="0">
                      <a:pos x="228" y="115"/>
                    </a:cxn>
                    <a:cxn ang="0">
                      <a:pos x="228" y="141"/>
                    </a:cxn>
                    <a:cxn ang="0">
                      <a:pos x="305" y="127"/>
                    </a:cxn>
                    <a:cxn ang="0">
                      <a:pos x="207" y="180"/>
                    </a:cxn>
                    <a:cxn ang="0">
                      <a:pos x="142" y="242"/>
                    </a:cxn>
                    <a:cxn ang="0">
                      <a:pos x="152" y="271"/>
                    </a:cxn>
                    <a:cxn ang="0">
                      <a:pos x="207" y="271"/>
                    </a:cxn>
                    <a:cxn ang="0">
                      <a:pos x="0" y="374"/>
                    </a:cxn>
                    <a:cxn ang="0">
                      <a:pos x="189" y="307"/>
                    </a:cxn>
                    <a:cxn ang="0">
                      <a:pos x="274" y="271"/>
                    </a:cxn>
                    <a:cxn ang="0">
                      <a:pos x="305" y="257"/>
                    </a:cxn>
                    <a:cxn ang="0">
                      <a:pos x="396" y="216"/>
                    </a:cxn>
                    <a:cxn ang="0">
                      <a:pos x="440" y="242"/>
                    </a:cxn>
                    <a:cxn ang="0">
                      <a:pos x="504" y="242"/>
                    </a:cxn>
                    <a:cxn ang="0">
                      <a:pos x="516" y="283"/>
                    </a:cxn>
                    <a:cxn ang="0">
                      <a:pos x="516" y="307"/>
                    </a:cxn>
                    <a:cxn ang="0">
                      <a:pos x="537" y="307"/>
                    </a:cxn>
                    <a:cxn ang="0">
                      <a:pos x="516" y="307"/>
                    </a:cxn>
                    <a:cxn ang="0">
                      <a:pos x="516" y="319"/>
                    </a:cxn>
                    <a:cxn ang="0">
                      <a:pos x="516" y="362"/>
                    </a:cxn>
                    <a:cxn ang="0">
                      <a:pos x="537" y="336"/>
                    </a:cxn>
                    <a:cxn ang="0">
                      <a:pos x="528" y="362"/>
                    </a:cxn>
                    <a:cxn ang="0">
                      <a:pos x="549" y="362"/>
                    </a:cxn>
                    <a:cxn ang="0">
                      <a:pos x="549" y="319"/>
                    </a:cxn>
                    <a:cxn ang="0">
                      <a:pos x="559" y="242"/>
                    </a:cxn>
                    <a:cxn ang="0">
                      <a:pos x="504" y="242"/>
                    </a:cxn>
                    <a:cxn ang="0">
                      <a:pos x="494" y="228"/>
                    </a:cxn>
                  </a:cxnLst>
                  <a:rect l="0" t="0" r="r" b="b"/>
                  <a:pathLst>
                    <a:path w="703" h="374">
                      <a:moveTo>
                        <a:pt x="494" y="228"/>
                      </a:moveTo>
                      <a:lnTo>
                        <a:pt x="703" y="36"/>
                      </a:lnTo>
                      <a:lnTo>
                        <a:pt x="681" y="24"/>
                      </a:lnTo>
                      <a:lnTo>
                        <a:pt x="580" y="14"/>
                      </a:lnTo>
                      <a:lnTo>
                        <a:pt x="549" y="14"/>
                      </a:lnTo>
                      <a:lnTo>
                        <a:pt x="549" y="0"/>
                      </a:lnTo>
                      <a:lnTo>
                        <a:pt x="537" y="0"/>
                      </a:lnTo>
                      <a:lnTo>
                        <a:pt x="440" y="24"/>
                      </a:lnTo>
                      <a:lnTo>
                        <a:pt x="382" y="50"/>
                      </a:lnTo>
                      <a:lnTo>
                        <a:pt x="341" y="50"/>
                      </a:lnTo>
                      <a:lnTo>
                        <a:pt x="329" y="60"/>
                      </a:lnTo>
                      <a:lnTo>
                        <a:pt x="341" y="72"/>
                      </a:lnTo>
                      <a:lnTo>
                        <a:pt x="329" y="89"/>
                      </a:lnTo>
                      <a:lnTo>
                        <a:pt x="341" y="101"/>
                      </a:lnTo>
                      <a:lnTo>
                        <a:pt x="296" y="101"/>
                      </a:lnTo>
                      <a:lnTo>
                        <a:pt x="305" y="101"/>
                      </a:lnTo>
                      <a:lnTo>
                        <a:pt x="296" y="101"/>
                      </a:lnTo>
                      <a:lnTo>
                        <a:pt x="228" y="115"/>
                      </a:lnTo>
                      <a:lnTo>
                        <a:pt x="241" y="127"/>
                      </a:lnTo>
                      <a:lnTo>
                        <a:pt x="228" y="141"/>
                      </a:lnTo>
                      <a:lnTo>
                        <a:pt x="274" y="141"/>
                      </a:lnTo>
                      <a:lnTo>
                        <a:pt x="305" y="127"/>
                      </a:lnTo>
                      <a:lnTo>
                        <a:pt x="274" y="166"/>
                      </a:lnTo>
                      <a:lnTo>
                        <a:pt x="207" y="180"/>
                      </a:lnTo>
                      <a:lnTo>
                        <a:pt x="152" y="206"/>
                      </a:lnTo>
                      <a:lnTo>
                        <a:pt x="142" y="242"/>
                      </a:lnTo>
                      <a:lnTo>
                        <a:pt x="173" y="242"/>
                      </a:lnTo>
                      <a:lnTo>
                        <a:pt x="152" y="271"/>
                      </a:lnTo>
                      <a:lnTo>
                        <a:pt x="189" y="271"/>
                      </a:lnTo>
                      <a:lnTo>
                        <a:pt x="207" y="271"/>
                      </a:lnTo>
                      <a:lnTo>
                        <a:pt x="189" y="293"/>
                      </a:lnTo>
                      <a:lnTo>
                        <a:pt x="0" y="374"/>
                      </a:lnTo>
                      <a:lnTo>
                        <a:pt x="133" y="336"/>
                      </a:lnTo>
                      <a:lnTo>
                        <a:pt x="189" y="307"/>
                      </a:lnTo>
                      <a:lnTo>
                        <a:pt x="265" y="271"/>
                      </a:lnTo>
                      <a:lnTo>
                        <a:pt x="274" y="271"/>
                      </a:lnTo>
                      <a:lnTo>
                        <a:pt x="274" y="257"/>
                      </a:lnTo>
                      <a:lnTo>
                        <a:pt x="305" y="257"/>
                      </a:lnTo>
                      <a:lnTo>
                        <a:pt x="360" y="242"/>
                      </a:lnTo>
                      <a:lnTo>
                        <a:pt x="396" y="216"/>
                      </a:lnTo>
                      <a:lnTo>
                        <a:pt x="418" y="216"/>
                      </a:lnTo>
                      <a:lnTo>
                        <a:pt x="440" y="242"/>
                      </a:lnTo>
                      <a:lnTo>
                        <a:pt x="482" y="242"/>
                      </a:lnTo>
                      <a:lnTo>
                        <a:pt x="504" y="242"/>
                      </a:lnTo>
                      <a:lnTo>
                        <a:pt x="494" y="257"/>
                      </a:lnTo>
                      <a:lnTo>
                        <a:pt x="516" y="283"/>
                      </a:lnTo>
                      <a:lnTo>
                        <a:pt x="528" y="283"/>
                      </a:lnTo>
                      <a:lnTo>
                        <a:pt x="516" y="307"/>
                      </a:lnTo>
                      <a:lnTo>
                        <a:pt x="537" y="293"/>
                      </a:lnTo>
                      <a:lnTo>
                        <a:pt x="537" y="307"/>
                      </a:lnTo>
                      <a:lnTo>
                        <a:pt x="528" y="307"/>
                      </a:lnTo>
                      <a:lnTo>
                        <a:pt x="516" y="307"/>
                      </a:lnTo>
                      <a:lnTo>
                        <a:pt x="504" y="319"/>
                      </a:lnTo>
                      <a:lnTo>
                        <a:pt x="516" y="319"/>
                      </a:lnTo>
                      <a:lnTo>
                        <a:pt x="504" y="348"/>
                      </a:lnTo>
                      <a:lnTo>
                        <a:pt x="516" y="362"/>
                      </a:lnTo>
                      <a:lnTo>
                        <a:pt x="528" y="319"/>
                      </a:lnTo>
                      <a:lnTo>
                        <a:pt x="537" y="336"/>
                      </a:lnTo>
                      <a:lnTo>
                        <a:pt x="528" y="336"/>
                      </a:lnTo>
                      <a:lnTo>
                        <a:pt x="528" y="362"/>
                      </a:lnTo>
                      <a:lnTo>
                        <a:pt x="537" y="362"/>
                      </a:lnTo>
                      <a:lnTo>
                        <a:pt x="549" y="362"/>
                      </a:lnTo>
                      <a:lnTo>
                        <a:pt x="559" y="336"/>
                      </a:lnTo>
                      <a:lnTo>
                        <a:pt x="549" y="319"/>
                      </a:lnTo>
                      <a:lnTo>
                        <a:pt x="559" y="271"/>
                      </a:lnTo>
                      <a:lnTo>
                        <a:pt x="559" y="242"/>
                      </a:lnTo>
                      <a:lnTo>
                        <a:pt x="516" y="257"/>
                      </a:lnTo>
                      <a:lnTo>
                        <a:pt x="504" y="242"/>
                      </a:lnTo>
                      <a:lnTo>
                        <a:pt x="516" y="228"/>
                      </a:lnTo>
                      <a:lnTo>
                        <a:pt x="494" y="228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9" name="Freeform 369">
                  <a:extLst>
                    <a:ext uri="{FF2B5EF4-FFF2-40B4-BE49-F238E27FC236}">
                      <a16:creationId xmlns:a16="http://schemas.microsoft.com/office/drawing/2014/main" id="{A7528F3D-4148-419D-98A4-1F0936187D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625" y="1527185"/>
                  <a:ext cx="57150" cy="476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15" y="3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6" h="30">
                      <a:moveTo>
                        <a:pt x="0" y="0"/>
                      </a:moveTo>
                      <a:lnTo>
                        <a:pt x="36" y="0"/>
                      </a:lnTo>
                      <a:lnTo>
                        <a:pt x="15" y="3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0" name="Freeform 373">
                  <a:extLst>
                    <a:ext uri="{FF2B5EF4-FFF2-40B4-BE49-F238E27FC236}">
                      <a16:creationId xmlns:a16="http://schemas.microsoft.com/office/drawing/2014/main" id="{5703D939-1256-4288-B6CB-B54BC24799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7113" y="1760549"/>
                  <a:ext cx="47625" cy="84138"/>
                </a:xfrm>
                <a:custGeom>
                  <a:avLst/>
                  <a:gdLst/>
                  <a:ahLst/>
                  <a:cxnLst>
                    <a:cxn ang="0">
                      <a:pos x="9" y="0"/>
                    </a:cxn>
                    <a:cxn ang="0">
                      <a:pos x="30" y="0"/>
                    </a:cxn>
                    <a:cxn ang="0">
                      <a:pos x="9" y="35"/>
                    </a:cxn>
                    <a:cxn ang="0">
                      <a:pos x="9" y="53"/>
                    </a:cxn>
                    <a:cxn ang="0">
                      <a:pos x="0" y="35"/>
                    </a:cxn>
                    <a:cxn ang="0">
                      <a:pos x="0" y="10"/>
                    </a:cxn>
                    <a:cxn ang="0">
                      <a:pos x="9" y="0"/>
                    </a:cxn>
                  </a:cxnLst>
                  <a:rect l="0" t="0" r="r" b="b"/>
                  <a:pathLst>
                    <a:path w="30" h="53">
                      <a:moveTo>
                        <a:pt x="9" y="0"/>
                      </a:moveTo>
                      <a:lnTo>
                        <a:pt x="30" y="0"/>
                      </a:lnTo>
                      <a:lnTo>
                        <a:pt x="9" y="35"/>
                      </a:lnTo>
                      <a:lnTo>
                        <a:pt x="9" y="53"/>
                      </a:lnTo>
                      <a:lnTo>
                        <a:pt x="0" y="35"/>
                      </a:lnTo>
                      <a:lnTo>
                        <a:pt x="0" y="1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1" name="Freeform 375">
                  <a:extLst>
                    <a:ext uri="{FF2B5EF4-FFF2-40B4-BE49-F238E27FC236}">
                      <a16:creationId xmlns:a16="http://schemas.microsoft.com/office/drawing/2014/main" id="{24762EBA-9DD7-42E8-B7D1-28EF896379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4738" y="1879612"/>
                  <a:ext cx="71438" cy="10160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2" y="14"/>
                    </a:cxn>
                    <a:cxn ang="0">
                      <a:pos x="45" y="53"/>
                    </a:cxn>
                    <a:cxn ang="0">
                      <a:pos x="32" y="64"/>
                    </a:cxn>
                    <a:cxn ang="0">
                      <a:pos x="23" y="53"/>
                    </a:cxn>
                    <a:cxn ang="0">
                      <a:pos x="23" y="35"/>
                    </a:cxn>
                    <a:cxn ang="0">
                      <a:pos x="12" y="35"/>
                    </a:cxn>
                    <a:cxn ang="0">
                      <a:pos x="12" y="25"/>
                    </a:cxn>
                    <a:cxn ang="0">
                      <a:pos x="0" y="1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5" h="64">
                      <a:moveTo>
                        <a:pt x="0" y="0"/>
                      </a:moveTo>
                      <a:lnTo>
                        <a:pt x="32" y="14"/>
                      </a:lnTo>
                      <a:lnTo>
                        <a:pt x="45" y="53"/>
                      </a:lnTo>
                      <a:lnTo>
                        <a:pt x="32" y="64"/>
                      </a:lnTo>
                      <a:lnTo>
                        <a:pt x="23" y="53"/>
                      </a:lnTo>
                      <a:lnTo>
                        <a:pt x="23" y="35"/>
                      </a:lnTo>
                      <a:lnTo>
                        <a:pt x="12" y="35"/>
                      </a:lnTo>
                      <a:lnTo>
                        <a:pt x="12" y="25"/>
                      </a:lnTo>
                      <a:lnTo>
                        <a:pt x="0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46" name="Group 245">
                <a:extLst>
                  <a:ext uri="{FF2B5EF4-FFF2-40B4-BE49-F238E27FC236}">
                    <a16:creationId xmlns:a16="http://schemas.microsoft.com/office/drawing/2014/main" id="{F4288633-B61C-4EEA-AA71-F3B627E6C91C}"/>
                  </a:ext>
                </a:extLst>
              </p:cNvPr>
              <p:cNvGrpSpPr/>
              <p:nvPr/>
            </p:nvGrpSpPr>
            <p:grpSpPr>
              <a:xfrm>
                <a:off x="2814486" y="1624310"/>
                <a:ext cx="1942617" cy="1195248"/>
                <a:chOff x="1062040" y="838206"/>
                <a:chExt cx="2265364" cy="1393826"/>
              </a:xfrm>
              <a:grpFill/>
            </p:grpSpPr>
            <p:sp>
              <p:nvSpPr>
                <p:cNvPr id="447" name="Freeform 339">
                  <a:extLst>
                    <a:ext uri="{FF2B5EF4-FFF2-40B4-BE49-F238E27FC236}">
                      <a16:creationId xmlns:a16="http://schemas.microsoft.com/office/drawing/2014/main" id="{2EEC0F48-2938-424B-AB4F-C4892722D8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81290" y="1263658"/>
                  <a:ext cx="58738" cy="47625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21" y="0"/>
                    </a:cxn>
                    <a:cxn ang="0">
                      <a:pos x="37" y="0"/>
                    </a:cxn>
                    <a:cxn ang="0">
                      <a:pos x="12" y="30"/>
                    </a:cxn>
                    <a:cxn ang="0">
                      <a:pos x="0" y="30"/>
                    </a:cxn>
                    <a:cxn ang="0">
                      <a:pos x="0" y="10"/>
                    </a:cxn>
                  </a:cxnLst>
                  <a:rect l="0" t="0" r="r" b="b"/>
                  <a:pathLst>
                    <a:path w="37" h="30">
                      <a:moveTo>
                        <a:pt x="0" y="10"/>
                      </a:moveTo>
                      <a:lnTo>
                        <a:pt x="21" y="0"/>
                      </a:lnTo>
                      <a:lnTo>
                        <a:pt x="37" y="0"/>
                      </a:lnTo>
                      <a:lnTo>
                        <a:pt x="12" y="30"/>
                      </a:lnTo>
                      <a:lnTo>
                        <a:pt x="0" y="3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8" name="Freeform 341">
                  <a:extLst>
                    <a:ext uri="{FF2B5EF4-FFF2-40B4-BE49-F238E27FC236}">
                      <a16:creationId xmlns:a16="http://schemas.microsoft.com/office/drawing/2014/main" id="{3D86233E-4D01-403B-A06D-2EE8B68FC5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6665" y="1079507"/>
                  <a:ext cx="490538" cy="390527"/>
                </a:xfrm>
                <a:custGeom>
                  <a:avLst/>
                  <a:gdLst/>
                  <a:ahLst/>
                  <a:cxnLst>
                    <a:cxn ang="0">
                      <a:pos x="0" y="40"/>
                    </a:cxn>
                    <a:cxn ang="0">
                      <a:pos x="33" y="14"/>
                    </a:cxn>
                    <a:cxn ang="0">
                      <a:pos x="79" y="0"/>
                    </a:cxn>
                    <a:cxn ang="0">
                      <a:pos x="109" y="0"/>
                    </a:cxn>
                    <a:cxn ang="0">
                      <a:pos x="122" y="0"/>
                    </a:cxn>
                    <a:cxn ang="0">
                      <a:pos x="147" y="14"/>
                    </a:cxn>
                    <a:cxn ang="0">
                      <a:pos x="122" y="40"/>
                    </a:cxn>
                    <a:cxn ang="0">
                      <a:pos x="177" y="25"/>
                    </a:cxn>
                    <a:cxn ang="0">
                      <a:pos x="222" y="25"/>
                    </a:cxn>
                    <a:cxn ang="0">
                      <a:pos x="208" y="40"/>
                    </a:cxn>
                    <a:cxn ang="0">
                      <a:pos x="244" y="54"/>
                    </a:cxn>
                    <a:cxn ang="0">
                      <a:pos x="275" y="79"/>
                    </a:cxn>
                    <a:cxn ang="0">
                      <a:pos x="275" y="90"/>
                    </a:cxn>
                    <a:cxn ang="0">
                      <a:pos x="254" y="104"/>
                    </a:cxn>
                    <a:cxn ang="0">
                      <a:pos x="244" y="104"/>
                    </a:cxn>
                    <a:cxn ang="0">
                      <a:pos x="254" y="116"/>
                    </a:cxn>
                    <a:cxn ang="0">
                      <a:pos x="275" y="116"/>
                    </a:cxn>
                    <a:cxn ang="0">
                      <a:pos x="309" y="145"/>
                    </a:cxn>
                    <a:cxn ang="0">
                      <a:pos x="266" y="181"/>
                    </a:cxn>
                    <a:cxn ang="0">
                      <a:pos x="254" y="181"/>
                    </a:cxn>
                    <a:cxn ang="0">
                      <a:pos x="254" y="169"/>
                    </a:cxn>
                    <a:cxn ang="0">
                      <a:pos x="232" y="155"/>
                    </a:cxn>
                    <a:cxn ang="0">
                      <a:pos x="222" y="169"/>
                    </a:cxn>
                    <a:cxn ang="0">
                      <a:pos x="244" y="195"/>
                    </a:cxn>
                    <a:cxn ang="0">
                      <a:pos x="232" y="205"/>
                    </a:cxn>
                    <a:cxn ang="0">
                      <a:pos x="244" y="220"/>
                    </a:cxn>
                    <a:cxn ang="0">
                      <a:pos x="232" y="234"/>
                    </a:cxn>
                    <a:cxn ang="0">
                      <a:pos x="208" y="234"/>
                    </a:cxn>
                    <a:cxn ang="0">
                      <a:pos x="177" y="205"/>
                    </a:cxn>
                    <a:cxn ang="0">
                      <a:pos x="177" y="220"/>
                    </a:cxn>
                    <a:cxn ang="0">
                      <a:pos x="199" y="246"/>
                    </a:cxn>
                    <a:cxn ang="0">
                      <a:pos x="167" y="246"/>
                    </a:cxn>
                    <a:cxn ang="0">
                      <a:pos x="131" y="234"/>
                    </a:cxn>
                    <a:cxn ang="0">
                      <a:pos x="131" y="205"/>
                    </a:cxn>
                    <a:cxn ang="0">
                      <a:pos x="122" y="205"/>
                    </a:cxn>
                    <a:cxn ang="0">
                      <a:pos x="91" y="195"/>
                    </a:cxn>
                    <a:cxn ang="0">
                      <a:pos x="54" y="195"/>
                    </a:cxn>
                    <a:cxn ang="0">
                      <a:pos x="79" y="169"/>
                    </a:cxn>
                    <a:cxn ang="0">
                      <a:pos x="109" y="181"/>
                    </a:cxn>
                    <a:cxn ang="0">
                      <a:pos x="131" y="169"/>
                    </a:cxn>
                    <a:cxn ang="0">
                      <a:pos x="122" y="155"/>
                    </a:cxn>
                    <a:cxn ang="0">
                      <a:pos x="177" y="145"/>
                    </a:cxn>
                    <a:cxn ang="0">
                      <a:pos x="177" y="116"/>
                    </a:cxn>
                    <a:cxn ang="0">
                      <a:pos x="167" y="104"/>
                    </a:cxn>
                    <a:cxn ang="0">
                      <a:pos x="156" y="104"/>
                    </a:cxn>
                    <a:cxn ang="0">
                      <a:pos x="131" y="104"/>
                    </a:cxn>
                    <a:cxn ang="0">
                      <a:pos x="156" y="90"/>
                    </a:cxn>
                    <a:cxn ang="0">
                      <a:pos x="131" y="79"/>
                    </a:cxn>
                    <a:cxn ang="0">
                      <a:pos x="100" y="90"/>
                    </a:cxn>
                    <a:cxn ang="0">
                      <a:pos x="91" y="79"/>
                    </a:cxn>
                    <a:cxn ang="0">
                      <a:pos x="33" y="79"/>
                    </a:cxn>
                    <a:cxn ang="0">
                      <a:pos x="15" y="68"/>
                    </a:cxn>
                    <a:cxn ang="0">
                      <a:pos x="0" y="40"/>
                    </a:cxn>
                  </a:cxnLst>
                  <a:rect l="0" t="0" r="r" b="b"/>
                  <a:pathLst>
                    <a:path w="309" h="246">
                      <a:moveTo>
                        <a:pt x="0" y="40"/>
                      </a:moveTo>
                      <a:lnTo>
                        <a:pt x="33" y="14"/>
                      </a:lnTo>
                      <a:lnTo>
                        <a:pt x="79" y="0"/>
                      </a:lnTo>
                      <a:lnTo>
                        <a:pt x="109" y="0"/>
                      </a:lnTo>
                      <a:lnTo>
                        <a:pt x="122" y="0"/>
                      </a:lnTo>
                      <a:lnTo>
                        <a:pt x="147" y="14"/>
                      </a:lnTo>
                      <a:lnTo>
                        <a:pt x="122" y="40"/>
                      </a:lnTo>
                      <a:lnTo>
                        <a:pt x="177" y="25"/>
                      </a:lnTo>
                      <a:lnTo>
                        <a:pt x="222" y="25"/>
                      </a:lnTo>
                      <a:lnTo>
                        <a:pt x="208" y="40"/>
                      </a:lnTo>
                      <a:lnTo>
                        <a:pt x="244" y="54"/>
                      </a:lnTo>
                      <a:lnTo>
                        <a:pt x="275" y="79"/>
                      </a:lnTo>
                      <a:lnTo>
                        <a:pt x="275" y="90"/>
                      </a:lnTo>
                      <a:lnTo>
                        <a:pt x="254" y="104"/>
                      </a:lnTo>
                      <a:lnTo>
                        <a:pt x="244" y="104"/>
                      </a:lnTo>
                      <a:lnTo>
                        <a:pt x="254" y="116"/>
                      </a:lnTo>
                      <a:lnTo>
                        <a:pt x="275" y="116"/>
                      </a:lnTo>
                      <a:lnTo>
                        <a:pt x="309" y="145"/>
                      </a:lnTo>
                      <a:lnTo>
                        <a:pt x="266" y="181"/>
                      </a:lnTo>
                      <a:lnTo>
                        <a:pt x="254" y="181"/>
                      </a:lnTo>
                      <a:lnTo>
                        <a:pt x="254" y="169"/>
                      </a:lnTo>
                      <a:lnTo>
                        <a:pt x="232" y="155"/>
                      </a:lnTo>
                      <a:lnTo>
                        <a:pt x="222" y="169"/>
                      </a:lnTo>
                      <a:lnTo>
                        <a:pt x="244" y="195"/>
                      </a:lnTo>
                      <a:lnTo>
                        <a:pt x="232" y="205"/>
                      </a:lnTo>
                      <a:lnTo>
                        <a:pt x="244" y="220"/>
                      </a:lnTo>
                      <a:lnTo>
                        <a:pt x="232" y="234"/>
                      </a:lnTo>
                      <a:lnTo>
                        <a:pt x="208" y="234"/>
                      </a:lnTo>
                      <a:lnTo>
                        <a:pt x="177" y="205"/>
                      </a:lnTo>
                      <a:lnTo>
                        <a:pt x="177" y="220"/>
                      </a:lnTo>
                      <a:lnTo>
                        <a:pt x="199" y="246"/>
                      </a:lnTo>
                      <a:lnTo>
                        <a:pt x="167" y="246"/>
                      </a:lnTo>
                      <a:lnTo>
                        <a:pt x="131" y="234"/>
                      </a:lnTo>
                      <a:lnTo>
                        <a:pt x="131" y="205"/>
                      </a:lnTo>
                      <a:lnTo>
                        <a:pt x="122" y="205"/>
                      </a:lnTo>
                      <a:lnTo>
                        <a:pt x="91" y="195"/>
                      </a:lnTo>
                      <a:lnTo>
                        <a:pt x="54" y="195"/>
                      </a:lnTo>
                      <a:lnTo>
                        <a:pt x="79" y="169"/>
                      </a:lnTo>
                      <a:lnTo>
                        <a:pt x="109" y="181"/>
                      </a:lnTo>
                      <a:lnTo>
                        <a:pt x="131" y="169"/>
                      </a:lnTo>
                      <a:lnTo>
                        <a:pt x="122" y="155"/>
                      </a:lnTo>
                      <a:lnTo>
                        <a:pt x="177" y="145"/>
                      </a:lnTo>
                      <a:lnTo>
                        <a:pt x="177" y="116"/>
                      </a:lnTo>
                      <a:lnTo>
                        <a:pt x="167" y="104"/>
                      </a:lnTo>
                      <a:lnTo>
                        <a:pt x="156" y="104"/>
                      </a:lnTo>
                      <a:lnTo>
                        <a:pt x="131" y="104"/>
                      </a:lnTo>
                      <a:lnTo>
                        <a:pt x="156" y="90"/>
                      </a:lnTo>
                      <a:lnTo>
                        <a:pt x="131" y="79"/>
                      </a:lnTo>
                      <a:lnTo>
                        <a:pt x="100" y="90"/>
                      </a:lnTo>
                      <a:lnTo>
                        <a:pt x="91" y="79"/>
                      </a:lnTo>
                      <a:lnTo>
                        <a:pt x="33" y="79"/>
                      </a:lnTo>
                      <a:lnTo>
                        <a:pt x="15" y="68"/>
                      </a:lnTo>
                      <a:lnTo>
                        <a:pt x="0" y="4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9" name="Freeform 343">
                  <a:extLst>
                    <a:ext uri="{FF2B5EF4-FFF2-40B4-BE49-F238E27FC236}">
                      <a16:creationId xmlns:a16="http://schemas.microsoft.com/office/drawing/2014/main" id="{BD5A5D16-6A4B-48A5-8423-1496A06F1B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1615" y="1079507"/>
                  <a:ext cx="80963" cy="46038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51" y="17"/>
                    </a:cxn>
                    <a:cxn ang="0">
                      <a:pos x="38" y="29"/>
                    </a:cxn>
                    <a:cxn ang="0">
                      <a:pos x="8" y="29"/>
                    </a:cxn>
                    <a:cxn ang="0">
                      <a:pos x="0" y="17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51" h="29">
                      <a:moveTo>
                        <a:pt x="8" y="0"/>
                      </a:moveTo>
                      <a:lnTo>
                        <a:pt x="51" y="17"/>
                      </a:lnTo>
                      <a:lnTo>
                        <a:pt x="38" y="29"/>
                      </a:lnTo>
                      <a:lnTo>
                        <a:pt x="8" y="29"/>
                      </a:lnTo>
                      <a:lnTo>
                        <a:pt x="0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0" name="Freeform 345">
                  <a:extLst>
                    <a:ext uri="{FF2B5EF4-FFF2-40B4-BE49-F238E27FC236}">
                      <a16:creationId xmlns:a16="http://schemas.microsoft.com/office/drawing/2014/main" id="{D5314286-E97E-413B-B33C-946A34E94D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30478" y="998544"/>
                  <a:ext cx="271463" cy="65088"/>
                </a:xfrm>
                <a:custGeom>
                  <a:avLst/>
                  <a:gdLst/>
                  <a:ahLst/>
                  <a:cxnLst>
                    <a:cxn ang="0">
                      <a:pos x="9" y="0"/>
                    </a:cxn>
                    <a:cxn ang="0">
                      <a:pos x="64" y="0"/>
                    </a:cxn>
                    <a:cxn ang="0">
                      <a:pos x="64" y="14"/>
                    </a:cxn>
                    <a:cxn ang="0">
                      <a:pos x="76" y="14"/>
                    </a:cxn>
                    <a:cxn ang="0">
                      <a:pos x="171" y="29"/>
                    </a:cxn>
                    <a:cxn ang="0">
                      <a:pos x="152" y="41"/>
                    </a:cxn>
                    <a:cxn ang="0">
                      <a:pos x="131" y="41"/>
                    </a:cxn>
                    <a:cxn ang="0">
                      <a:pos x="116" y="41"/>
                    </a:cxn>
                    <a:cxn ang="0">
                      <a:pos x="94" y="41"/>
                    </a:cxn>
                    <a:cxn ang="0">
                      <a:pos x="30" y="41"/>
                    </a:cxn>
                    <a:cxn ang="0">
                      <a:pos x="17" y="41"/>
                    </a:cxn>
                    <a:cxn ang="0">
                      <a:pos x="39" y="14"/>
                    </a:cxn>
                    <a:cxn ang="0">
                      <a:pos x="9" y="14"/>
                    </a:cxn>
                    <a:cxn ang="0">
                      <a:pos x="0" y="0"/>
                    </a:cxn>
                    <a:cxn ang="0">
                      <a:pos x="9" y="0"/>
                    </a:cxn>
                  </a:cxnLst>
                  <a:rect l="0" t="0" r="r" b="b"/>
                  <a:pathLst>
                    <a:path w="171" h="41">
                      <a:moveTo>
                        <a:pt x="9" y="0"/>
                      </a:moveTo>
                      <a:lnTo>
                        <a:pt x="64" y="0"/>
                      </a:lnTo>
                      <a:lnTo>
                        <a:pt x="64" y="14"/>
                      </a:lnTo>
                      <a:lnTo>
                        <a:pt x="76" y="14"/>
                      </a:lnTo>
                      <a:lnTo>
                        <a:pt x="171" y="29"/>
                      </a:lnTo>
                      <a:lnTo>
                        <a:pt x="152" y="41"/>
                      </a:lnTo>
                      <a:lnTo>
                        <a:pt x="131" y="41"/>
                      </a:lnTo>
                      <a:lnTo>
                        <a:pt x="116" y="41"/>
                      </a:lnTo>
                      <a:lnTo>
                        <a:pt x="94" y="41"/>
                      </a:lnTo>
                      <a:lnTo>
                        <a:pt x="30" y="41"/>
                      </a:lnTo>
                      <a:lnTo>
                        <a:pt x="17" y="41"/>
                      </a:lnTo>
                      <a:lnTo>
                        <a:pt x="39" y="14"/>
                      </a:lnTo>
                      <a:lnTo>
                        <a:pt x="9" y="14"/>
                      </a:lnTo>
                      <a:lnTo>
                        <a:pt x="0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1" name="Freeform 347">
                  <a:extLst>
                    <a:ext uri="{FF2B5EF4-FFF2-40B4-BE49-F238E27FC236}">
                      <a16:creationId xmlns:a16="http://schemas.microsoft.com/office/drawing/2014/main" id="{4D4F9AE8-7783-4CE0-9350-200D73EAD4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1128" y="873131"/>
                  <a:ext cx="152400" cy="82551"/>
                </a:xfrm>
                <a:custGeom>
                  <a:avLst/>
                  <a:gdLst/>
                  <a:ahLst/>
                  <a:cxnLst>
                    <a:cxn ang="0">
                      <a:pos x="9" y="17"/>
                    </a:cxn>
                    <a:cxn ang="0">
                      <a:pos x="40" y="0"/>
                    </a:cxn>
                    <a:cxn ang="0">
                      <a:pos x="65" y="0"/>
                    </a:cxn>
                    <a:cxn ang="0">
                      <a:pos x="77" y="17"/>
                    </a:cxn>
                    <a:cxn ang="0">
                      <a:pos x="96" y="17"/>
                    </a:cxn>
                    <a:cxn ang="0">
                      <a:pos x="86" y="28"/>
                    </a:cxn>
                    <a:cxn ang="0">
                      <a:pos x="31" y="52"/>
                    </a:cxn>
                    <a:cxn ang="0">
                      <a:pos x="0" y="52"/>
                    </a:cxn>
                    <a:cxn ang="0">
                      <a:pos x="0" y="42"/>
                    </a:cxn>
                    <a:cxn ang="0">
                      <a:pos x="9" y="28"/>
                    </a:cxn>
                    <a:cxn ang="0">
                      <a:pos x="9" y="17"/>
                    </a:cxn>
                  </a:cxnLst>
                  <a:rect l="0" t="0" r="r" b="b"/>
                  <a:pathLst>
                    <a:path w="96" h="52">
                      <a:moveTo>
                        <a:pt x="9" y="17"/>
                      </a:moveTo>
                      <a:lnTo>
                        <a:pt x="40" y="0"/>
                      </a:lnTo>
                      <a:lnTo>
                        <a:pt x="65" y="0"/>
                      </a:lnTo>
                      <a:lnTo>
                        <a:pt x="77" y="17"/>
                      </a:lnTo>
                      <a:lnTo>
                        <a:pt x="96" y="17"/>
                      </a:lnTo>
                      <a:lnTo>
                        <a:pt x="86" y="28"/>
                      </a:lnTo>
                      <a:lnTo>
                        <a:pt x="31" y="52"/>
                      </a:lnTo>
                      <a:lnTo>
                        <a:pt x="0" y="52"/>
                      </a:lnTo>
                      <a:lnTo>
                        <a:pt x="0" y="42"/>
                      </a:lnTo>
                      <a:lnTo>
                        <a:pt x="9" y="28"/>
                      </a:lnTo>
                      <a:lnTo>
                        <a:pt x="9" y="17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2" name="Freeform 353">
                  <a:extLst>
                    <a:ext uri="{FF2B5EF4-FFF2-40B4-BE49-F238E27FC236}">
                      <a16:creationId xmlns:a16="http://schemas.microsoft.com/office/drawing/2014/main" id="{40F0672D-D686-4401-85FA-BF12CAA051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6353" y="957269"/>
                  <a:ext cx="85725" cy="49213"/>
                </a:xfrm>
                <a:custGeom>
                  <a:avLst/>
                  <a:gdLst/>
                  <a:ahLst/>
                  <a:cxnLst>
                    <a:cxn ang="0">
                      <a:pos x="0" y="31"/>
                    </a:cxn>
                    <a:cxn ang="0">
                      <a:pos x="54" y="0"/>
                    </a:cxn>
                    <a:cxn ang="0">
                      <a:pos x="41" y="31"/>
                    </a:cxn>
                    <a:cxn ang="0">
                      <a:pos x="0" y="31"/>
                    </a:cxn>
                  </a:cxnLst>
                  <a:rect l="0" t="0" r="r" b="b"/>
                  <a:pathLst>
                    <a:path w="54" h="31">
                      <a:moveTo>
                        <a:pt x="0" y="31"/>
                      </a:moveTo>
                      <a:lnTo>
                        <a:pt x="54" y="0"/>
                      </a:lnTo>
                      <a:lnTo>
                        <a:pt x="41" y="31"/>
                      </a:lnTo>
                      <a:lnTo>
                        <a:pt x="0" y="3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3" name="Freeform 357">
                  <a:extLst>
                    <a:ext uri="{FF2B5EF4-FFF2-40B4-BE49-F238E27FC236}">
                      <a16:creationId xmlns:a16="http://schemas.microsoft.com/office/drawing/2014/main" id="{FFE9E194-14AD-4C5D-9BAA-82270FB03B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2827" y="1079507"/>
                  <a:ext cx="141288" cy="85726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34" y="14"/>
                    </a:cxn>
                    <a:cxn ang="0">
                      <a:pos x="34" y="0"/>
                    </a:cxn>
                    <a:cxn ang="0">
                      <a:pos x="89" y="0"/>
                    </a:cxn>
                    <a:cxn ang="0">
                      <a:pos x="76" y="14"/>
                    </a:cxn>
                    <a:cxn ang="0">
                      <a:pos x="64" y="39"/>
                    </a:cxn>
                    <a:cxn ang="0">
                      <a:pos x="21" y="54"/>
                    </a:cxn>
                    <a:cxn ang="0">
                      <a:pos x="12" y="39"/>
                    </a:cxn>
                    <a:cxn ang="0">
                      <a:pos x="0" y="39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89" h="54">
                      <a:moveTo>
                        <a:pt x="0" y="25"/>
                      </a:moveTo>
                      <a:lnTo>
                        <a:pt x="34" y="14"/>
                      </a:lnTo>
                      <a:lnTo>
                        <a:pt x="34" y="0"/>
                      </a:lnTo>
                      <a:lnTo>
                        <a:pt x="89" y="0"/>
                      </a:lnTo>
                      <a:lnTo>
                        <a:pt x="76" y="14"/>
                      </a:lnTo>
                      <a:lnTo>
                        <a:pt x="64" y="39"/>
                      </a:lnTo>
                      <a:lnTo>
                        <a:pt x="21" y="54"/>
                      </a:lnTo>
                      <a:lnTo>
                        <a:pt x="12" y="39"/>
                      </a:lnTo>
                      <a:lnTo>
                        <a:pt x="0" y="39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4" name="Freeform 363">
                  <a:extLst>
                    <a:ext uri="{FF2B5EF4-FFF2-40B4-BE49-F238E27FC236}">
                      <a16:creationId xmlns:a16="http://schemas.microsoft.com/office/drawing/2014/main" id="{B41B89F3-286C-480B-BBE0-2C93620273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98652" y="1079507"/>
                  <a:ext cx="361950" cy="166689"/>
                </a:xfrm>
                <a:custGeom>
                  <a:avLst/>
                  <a:gdLst/>
                  <a:ahLst/>
                  <a:cxnLst>
                    <a:cxn ang="0">
                      <a:pos x="12" y="54"/>
                    </a:cxn>
                    <a:cxn ang="0">
                      <a:pos x="42" y="25"/>
                    </a:cxn>
                    <a:cxn ang="0">
                      <a:pos x="97" y="14"/>
                    </a:cxn>
                    <a:cxn ang="0">
                      <a:pos x="109" y="14"/>
                    </a:cxn>
                    <a:cxn ang="0">
                      <a:pos x="109" y="25"/>
                    </a:cxn>
                    <a:cxn ang="0">
                      <a:pos x="131" y="14"/>
                    </a:cxn>
                    <a:cxn ang="0">
                      <a:pos x="174" y="25"/>
                    </a:cxn>
                    <a:cxn ang="0">
                      <a:pos x="208" y="0"/>
                    </a:cxn>
                    <a:cxn ang="0">
                      <a:pos x="228" y="14"/>
                    </a:cxn>
                    <a:cxn ang="0">
                      <a:pos x="198" y="25"/>
                    </a:cxn>
                    <a:cxn ang="0">
                      <a:pos x="198" y="54"/>
                    </a:cxn>
                    <a:cxn ang="0">
                      <a:pos x="189" y="54"/>
                    </a:cxn>
                    <a:cxn ang="0">
                      <a:pos x="189" y="68"/>
                    </a:cxn>
                    <a:cxn ang="0">
                      <a:pos x="219" y="79"/>
                    </a:cxn>
                    <a:cxn ang="0">
                      <a:pos x="174" y="105"/>
                    </a:cxn>
                    <a:cxn ang="0">
                      <a:pos x="152" y="105"/>
                    </a:cxn>
                    <a:cxn ang="0">
                      <a:pos x="131" y="90"/>
                    </a:cxn>
                    <a:cxn ang="0">
                      <a:pos x="20" y="105"/>
                    </a:cxn>
                    <a:cxn ang="0">
                      <a:pos x="30" y="90"/>
                    </a:cxn>
                    <a:cxn ang="0">
                      <a:pos x="0" y="90"/>
                    </a:cxn>
                    <a:cxn ang="0">
                      <a:pos x="12" y="79"/>
                    </a:cxn>
                    <a:cxn ang="0">
                      <a:pos x="67" y="68"/>
                    </a:cxn>
                    <a:cxn ang="0">
                      <a:pos x="12" y="68"/>
                    </a:cxn>
                    <a:cxn ang="0">
                      <a:pos x="12" y="54"/>
                    </a:cxn>
                  </a:cxnLst>
                  <a:rect l="0" t="0" r="r" b="b"/>
                  <a:pathLst>
                    <a:path w="228" h="105">
                      <a:moveTo>
                        <a:pt x="12" y="54"/>
                      </a:moveTo>
                      <a:lnTo>
                        <a:pt x="42" y="25"/>
                      </a:lnTo>
                      <a:lnTo>
                        <a:pt x="97" y="14"/>
                      </a:lnTo>
                      <a:lnTo>
                        <a:pt x="109" y="14"/>
                      </a:lnTo>
                      <a:lnTo>
                        <a:pt x="109" y="25"/>
                      </a:lnTo>
                      <a:lnTo>
                        <a:pt x="131" y="14"/>
                      </a:lnTo>
                      <a:lnTo>
                        <a:pt x="174" y="25"/>
                      </a:lnTo>
                      <a:lnTo>
                        <a:pt x="208" y="0"/>
                      </a:lnTo>
                      <a:lnTo>
                        <a:pt x="228" y="14"/>
                      </a:lnTo>
                      <a:lnTo>
                        <a:pt x="198" y="25"/>
                      </a:lnTo>
                      <a:lnTo>
                        <a:pt x="198" y="54"/>
                      </a:lnTo>
                      <a:lnTo>
                        <a:pt x="189" y="54"/>
                      </a:lnTo>
                      <a:lnTo>
                        <a:pt x="189" y="68"/>
                      </a:lnTo>
                      <a:lnTo>
                        <a:pt x="219" y="79"/>
                      </a:lnTo>
                      <a:lnTo>
                        <a:pt x="174" y="105"/>
                      </a:lnTo>
                      <a:lnTo>
                        <a:pt x="152" y="105"/>
                      </a:lnTo>
                      <a:lnTo>
                        <a:pt x="131" y="90"/>
                      </a:lnTo>
                      <a:lnTo>
                        <a:pt x="20" y="105"/>
                      </a:lnTo>
                      <a:lnTo>
                        <a:pt x="30" y="90"/>
                      </a:lnTo>
                      <a:lnTo>
                        <a:pt x="0" y="90"/>
                      </a:lnTo>
                      <a:lnTo>
                        <a:pt x="12" y="79"/>
                      </a:lnTo>
                      <a:lnTo>
                        <a:pt x="67" y="68"/>
                      </a:lnTo>
                      <a:lnTo>
                        <a:pt x="12" y="68"/>
                      </a:lnTo>
                      <a:lnTo>
                        <a:pt x="12" y="5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5" name="Freeform 365">
                  <a:extLst>
                    <a:ext uri="{FF2B5EF4-FFF2-40B4-BE49-F238E27FC236}">
                      <a16:creationId xmlns:a16="http://schemas.microsoft.com/office/drawing/2014/main" id="{CBDD5BF8-F2B8-416F-A815-E5FD8E257E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7052" y="1063632"/>
                  <a:ext cx="255588" cy="101601"/>
                </a:xfrm>
                <a:custGeom>
                  <a:avLst/>
                  <a:gdLst/>
                  <a:ahLst/>
                  <a:cxnLst>
                    <a:cxn ang="0">
                      <a:pos x="0" y="49"/>
                    </a:cxn>
                    <a:cxn ang="0">
                      <a:pos x="54" y="24"/>
                    </a:cxn>
                    <a:cxn ang="0">
                      <a:pos x="54" y="10"/>
                    </a:cxn>
                    <a:cxn ang="0">
                      <a:pos x="106" y="0"/>
                    </a:cxn>
                    <a:cxn ang="0">
                      <a:pos x="151" y="10"/>
                    </a:cxn>
                    <a:cxn ang="0">
                      <a:pos x="161" y="24"/>
                    </a:cxn>
                    <a:cxn ang="0">
                      <a:pos x="84" y="35"/>
                    </a:cxn>
                    <a:cxn ang="0">
                      <a:pos x="39" y="64"/>
                    </a:cxn>
                    <a:cxn ang="0">
                      <a:pos x="9" y="64"/>
                    </a:cxn>
                    <a:cxn ang="0">
                      <a:pos x="9" y="49"/>
                    </a:cxn>
                    <a:cxn ang="0">
                      <a:pos x="0" y="49"/>
                    </a:cxn>
                  </a:cxnLst>
                  <a:rect l="0" t="0" r="r" b="b"/>
                  <a:pathLst>
                    <a:path w="161" h="64">
                      <a:moveTo>
                        <a:pt x="0" y="49"/>
                      </a:moveTo>
                      <a:lnTo>
                        <a:pt x="54" y="24"/>
                      </a:lnTo>
                      <a:lnTo>
                        <a:pt x="54" y="10"/>
                      </a:lnTo>
                      <a:lnTo>
                        <a:pt x="106" y="0"/>
                      </a:lnTo>
                      <a:lnTo>
                        <a:pt x="151" y="10"/>
                      </a:lnTo>
                      <a:lnTo>
                        <a:pt x="161" y="24"/>
                      </a:lnTo>
                      <a:lnTo>
                        <a:pt x="84" y="35"/>
                      </a:lnTo>
                      <a:lnTo>
                        <a:pt x="39" y="64"/>
                      </a:lnTo>
                      <a:lnTo>
                        <a:pt x="9" y="64"/>
                      </a:lnTo>
                      <a:lnTo>
                        <a:pt x="9" y="49"/>
                      </a:lnTo>
                      <a:lnTo>
                        <a:pt x="0" y="49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6" name="Freeform 42">
                  <a:extLst>
                    <a:ext uri="{FF2B5EF4-FFF2-40B4-BE49-F238E27FC236}">
                      <a16:creationId xmlns:a16="http://schemas.microsoft.com/office/drawing/2014/main" id="{A6A5EEB6-BE8B-4690-9373-D20EFF454D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4699" y="2046294"/>
                  <a:ext cx="269877" cy="185738"/>
                </a:xfrm>
                <a:custGeom>
                  <a:avLst/>
                  <a:gdLst/>
                  <a:ahLst/>
                  <a:cxnLst>
                    <a:cxn ang="0">
                      <a:pos x="102" y="0"/>
                    </a:cxn>
                    <a:cxn ang="0">
                      <a:pos x="160" y="11"/>
                    </a:cxn>
                    <a:cxn ang="0">
                      <a:pos x="170" y="40"/>
                    </a:cxn>
                    <a:cxn ang="0">
                      <a:pos x="160" y="50"/>
                    </a:cxn>
                    <a:cxn ang="0">
                      <a:pos x="135" y="21"/>
                    </a:cxn>
                    <a:cxn ang="0">
                      <a:pos x="114" y="76"/>
                    </a:cxn>
                    <a:cxn ang="0">
                      <a:pos x="102" y="76"/>
                    </a:cxn>
                    <a:cxn ang="0">
                      <a:pos x="102" y="65"/>
                    </a:cxn>
                    <a:cxn ang="0">
                      <a:pos x="92" y="65"/>
                    </a:cxn>
                    <a:cxn ang="0">
                      <a:pos x="102" y="50"/>
                    </a:cxn>
                    <a:cxn ang="0">
                      <a:pos x="102" y="21"/>
                    </a:cxn>
                    <a:cxn ang="0">
                      <a:pos x="92" y="21"/>
                    </a:cxn>
                    <a:cxn ang="0">
                      <a:pos x="58" y="40"/>
                    </a:cxn>
                    <a:cxn ang="0">
                      <a:pos x="46" y="65"/>
                    </a:cxn>
                    <a:cxn ang="0">
                      <a:pos x="25" y="101"/>
                    </a:cxn>
                    <a:cxn ang="0">
                      <a:pos x="12" y="117"/>
                    </a:cxn>
                    <a:cxn ang="0">
                      <a:pos x="0" y="117"/>
                    </a:cxn>
                    <a:cxn ang="0">
                      <a:pos x="0" y="101"/>
                    </a:cxn>
                    <a:cxn ang="0">
                      <a:pos x="12" y="76"/>
                    </a:cxn>
                    <a:cxn ang="0">
                      <a:pos x="46" y="40"/>
                    </a:cxn>
                    <a:cxn ang="0">
                      <a:pos x="25" y="50"/>
                    </a:cxn>
                    <a:cxn ang="0">
                      <a:pos x="58" y="11"/>
                    </a:cxn>
                    <a:cxn ang="0">
                      <a:pos x="102" y="11"/>
                    </a:cxn>
                    <a:cxn ang="0">
                      <a:pos x="102" y="0"/>
                    </a:cxn>
                  </a:cxnLst>
                  <a:rect l="0" t="0" r="r" b="b"/>
                  <a:pathLst>
                    <a:path w="170" h="117">
                      <a:moveTo>
                        <a:pt x="102" y="0"/>
                      </a:moveTo>
                      <a:lnTo>
                        <a:pt x="160" y="11"/>
                      </a:lnTo>
                      <a:lnTo>
                        <a:pt x="170" y="40"/>
                      </a:lnTo>
                      <a:lnTo>
                        <a:pt x="160" y="50"/>
                      </a:lnTo>
                      <a:lnTo>
                        <a:pt x="135" y="21"/>
                      </a:lnTo>
                      <a:lnTo>
                        <a:pt x="114" y="76"/>
                      </a:lnTo>
                      <a:lnTo>
                        <a:pt x="102" y="76"/>
                      </a:lnTo>
                      <a:lnTo>
                        <a:pt x="102" y="65"/>
                      </a:lnTo>
                      <a:lnTo>
                        <a:pt x="92" y="65"/>
                      </a:lnTo>
                      <a:lnTo>
                        <a:pt x="102" y="50"/>
                      </a:lnTo>
                      <a:lnTo>
                        <a:pt x="102" y="21"/>
                      </a:lnTo>
                      <a:lnTo>
                        <a:pt x="92" y="21"/>
                      </a:lnTo>
                      <a:lnTo>
                        <a:pt x="58" y="40"/>
                      </a:lnTo>
                      <a:lnTo>
                        <a:pt x="46" y="65"/>
                      </a:lnTo>
                      <a:lnTo>
                        <a:pt x="25" y="101"/>
                      </a:lnTo>
                      <a:lnTo>
                        <a:pt x="12" y="117"/>
                      </a:lnTo>
                      <a:lnTo>
                        <a:pt x="0" y="117"/>
                      </a:lnTo>
                      <a:lnTo>
                        <a:pt x="0" y="101"/>
                      </a:lnTo>
                      <a:lnTo>
                        <a:pt x="12" y="76"/>
                      </a:lnTo>
                      <a:lnTo>
                        <a:pt x="46" y="40"/>
                      </a:lnTo>
                      <a:lnTo>
                        <a:pt x="25" y="50"/>
                      </a:lnTo>
                      <a:lnTo>
                        <a:pt x="58" y="11"/>
                      </a:lnTo>
                      <a:lnTo>
                        <a:pt x="102" y="11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7" name="Freeform 44">
                  <a:extLst>
                    <a:ext uri="{FF2B5EF4-FFF2-40B4-BE49-F238E27FC236}">
                      <a16:creationId xmlns:a16="http://schemas.microsoft.com/office/drawing/2014/main" id="{858C8201-F37E-42AC-9704-A22B1FD964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7712" y="1935169"/>
                  <a:ext cx="207964" cy="109538"/>
                </a:xfrm>
                <a:custGeom>
                  <a:avLst/>
                  <a:gdLst/>
                  <a:ahLst/>
                  <a:cxnLst>
                    <a:cxn ang="0">
                      <a:pos x="118" y="69"/>
                    </a:cxn>
                    <a:cxn ang="0">
                      <a:pos x="109" y="69"/>
                    </a:cxn>
                    <a:cxn ang="0">
                      <a:pos x="118" y="69"/>
                    </a:cxn>
                    <a:cxn ang="0">
                      <a:pos x="75" y="69"/>
                    </a:cxn>
                    <a:cxn ang="0">
                      <a:pos x="75" y="54"/>
                    </a:cxn>
                    <a:cxn ang="0">
                      <a:pos x="54" y="69"/>
                    </a:cxn>
                    <a:cxn ang="0">
                      <a:pos x="75" y="43"/>
                    </a:cxn>
                    <a:cxn ang="0">
                      <a:pos x="17" y="69"/>
                    </a:cxn>
                    <a:cxn ang="0">
                      <a:pos x="17" y="54"/>
                    </a:cxn>
                    <a:cxn ang="0">
                      <a:pos x="0" y="69"/>
                    </a:cxn>
                    <a:cxn ang="0">
                      <a:pos x="42" y="28"/>
                    </a:cxn>
                    <a:cxn ang="0">
                      <a:pos x="54" y="28"/>
                    </a:cxn>
                    <a:cxn ang="0">
                      <a:pos x="42" y="28"/>
                    </a:cxn>
                    <a:cxn ang="0">
                      <a:pos x="84" y="0"/>
                    </a:cxn>
                    <a:cxn ang="0">
                      <a:pos x="109" y="18"/>
                    </a:cxn>
                    <a:cxn ang="0">
                      <a:pos x="109" y="28"/>
                    </a:cxn>
                    <a:cxn ang="0">
                      <a:pos x="131" y="28"/>
                    </a:cxn>
                    <a:cxn ang="0">
                      <a:pos x="118" y="69"/>
                    </a:cxn>
                  </a:cxnLst>
                  <a:rect l="0" t="0" r="r" b="b"/>
                  <a:pathLst>
                    <a:path w="131" h="69">
                      <a:moveTo>
                        <a:pt x="118" y="69"/>
                      </a:moveTo>
                      <a:lnTo>
                        <a:pt x="109" y="69"/>
                      </a:lnTo>
                      <a:lnTo>
                        <a:pt x="118" y="69"/>
                      </a:lnTo>
                      <a:lnTo>
                        <a:pt x="75" y="69"/>
                      </a:lnTo>
                      <a:lnTo>
                        <a:pt x="75" y="54"/>
                      </a:lnTo>
                      <a:lnTo>
                        <a:pt x="54" y="69"/>
                      </a:lnTo>
                      <a:lnTo>
                        <a:pt x="75" y="43"/>
                      </a:lnTo>
                      <a:lnTo>
                        <a:pt x="17" y="69"/>
                      </a:lnTo>
                      <a:lnTo>
                        <a:pt x="17" y="54"/>
                      </a:lnTo>
                      <a:lnTo>
                        <a:pt x="0" y="69"/>
                      </a:lnTo>
                      <a:lnTo>
                        <a:pt x="42" y="28"/>
                      </a:lnTo>
                      <a:lnTo>
                        <a:pt x="54" y="28"/>
                      </a:lnTo>
                      <a:lnTo>
                        <a:pt x="42" y="28"/>
                      </a:lnTo>
                      <a:lnTo>
                        <a:pt x="84" y="0"/>
                      </a:lnTo>
                      <a:lnTo>
                        <a:pt x="109" y="18"/>
                      </a:lnTo>
                      <a:lnTo>
                        <a:pt x="109" y="28"/>
                      </a:lnTo>
                      <a:lnTo>
                        <a:pt x="131" y="28"/>
                      </a:lnTo>
                      <a:lnTo>
                        <a:pt x="118" y="69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8" name="Freeform 245">
                  <a:extLst>
                    <a:ext uri="{FF2B5EF4-FFF2-40B4-BE49-F238E27FC236}">
                      <a16:creationId xmlns:a16="http://schemas.microsoft.com/office/drawing/2014/main" id="{9E59E375-8F8F-46CE-AFA8-E76B4214F4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2040" y="1079507"/>
                  <a:ext cx="1866902" cy="1149357"/>
                </a:xfrm>
                <a:custGeom>
                  <a:avLst/>
                  <a:gdLst/>
                  <a:ahLst/>
                  <a:cxnLst>
                    <a:cxn ang="0">
                      <a:pos x="934" y="594"/>
                    </a:cxn>
                    <a:cxn ang="0">
                      <a:pos x="857" y="648"/>
                    </a:cxn>
                    <a:cxn ang="0">
                      <a:pos x="756" y="673"/>
                    </a:cxn>
                    <a:cxn ang="0">
                      <a:pos x="716" y="684"/>
                    </a:cxn>
                    <a:cxn ang="0">
                      <a:pos x="636" y="724"/>
                    </a:cxn>
                    <a:cxn ang="0">
                      <a:pos x="691" y="630"/>
                    </a:cxn>
                    <a:cxn ang="0">
                      <a:pos x="716" y="618"/>
                    </a:cxn>
                    <a:cxn ang="0">
                      <a:pos x="649" y="568"/>
                    </a:cxn>
                    <a:cxn ang="0">
                      <a:pos x="581" y="568"/>
                    </a:cxn>
                    <a:cxn ang="0">
                      <a:pos x="517" y="539"/>
                    </a:cxn>
                    <a:cxn ang="0">
                      <a:pos x="42" y="517"/>
                    </a:cxn>
                    <a:cxn ang="0">
                      <a:pos x="21" y="464"/>
                    </a:cxn>
                    <a:cxn ang="0">
                      <a:pos x="64" y="390"/>
                    </a:cxn>
                    <a:cxn ang="0">
                      <a:pos x="64" y="297"/>
                    </a:cxn>
                    <a:cxn ang="0">
                      <a:pos x="21" y="282"/>
                    </a:cxn>
                    <a:cxn ang="0">
                      <a:pos x="254" y="105"/>
                    </a:cxn>
                    <a:cxn ang="0">
                      <a:pos x="360" y="79"/>
                    </a:cxn>
                    <a:cxn ang="0">
                      <a:pos x="395" y="90"/>
                    </a:cxn>
                    <a:cxn ang="0">
                      <a:pos x="471" y="79"/>
                    </a:cxn>
                    <a:cxn ang="0">
                      <a:pos x="539" y="116"/>
                    </a:cxn>
                    <a:cxn ang="0">
                      <a:pos x="581" y="116"/>
                    </a:cxn>
                    <a:cxn ang="0">
                      <a:pos x="603" y="116"/>
                    </a:cxn>
                    <a:cxn ang="0">
                      <a:pos x="691" y="126"/>
                    </a:cxn>
                    <a:cxn ang="0">
                      <a:pos x="735" y="105"/>
                    </a:cxn>
                    <a:cxn ang="0">
                      <a:pos x="790" y="105"/>
                    </a:cxn>
                    <a:cxn ang="0">
                      <a:pos x="768" y="126"/>
                    </a:cxn>
                    <a:cxn ang="0">
                      <a:pos x="802" y="79"/>
                    </a:cxn>
                    <a:cxn ang="0">
                      <a:pos x="878" y="14"/>
                    </a:cxn>
                    <a:cxn ang="0">
                      <a:pos x="900" y="25"/>
                    </a:cxn>
                    <a:cxn ang="0">
                      <a:pos x="857" y="40"/>
                    </a:cxn>
                    <a:cxn ang="0">
                      <a:pos x="857" y="90"/>
                    </a:cxn>
                    <a:cxn ang="0">
                      <a:pos x="887" y="105"/>
                    </a:cxn>
                    <a:cxn ang="0">
                      <a:pos x="925" y="116"/>
                    </a:cxn>
                    <a:cxn ang="0">
                      <a:pos x="989" y="90"/>
                    </a:cxn>
                    <a:cxn ang="0">
                      <a:pos x="955" y="145"/>
                    </a:cxn>
                    <a:cxn ang="0">
                      <a:pos x="878" y="155"/>
                    </a:cxn>
                    <a:cxn ang="0">
                      <a:pos x="790" y="206"/>
                    </a:cxn>
                    <a:cxn ang="0">
                      <a:pos x="725" y="246"/>
                    </a:cxn>
                    <a:cxn ang="0">
                      <a:pos x="649" y="325"/>
                    </a:cxn>
                    <a:cxn ang="0">
                      <a:pos x="679" y="362"/>
                    </a:cxn>
                    <a:cxn ang="0">
                      <a:pos x="756" y="452"/>
                    </a:cxn>
                    <a:cxn ang="0">
                      <a:pos x="823" y="416"/>
                    </a:cxn>
                    <a:cxn ang="0">
                      <a:pos x="887" y="325"/>
                    </a:cxn>
                    <a:cxn ang="0">
                      <a:pos x="934" y="246"/>
                    </a:cxn>
                    <a:cxn ang="0">
                      <a:pos x="1019" y="260"/>
                    </a:cxn>
                    <a:cxn ang="0">
                      <a:pos x="1031" y="311"/>
                    </a:cxn>
                    <a:cxn ang="0">
                      <a:pos x="1086" y="297"/>
                    </a:cxn>
                    <a:cxn ang="0">
                      <a:pos x="1108" y="373"/>
                    </a:cxn>
                    <a:cxn ang="0">
                      <a:pos x="1141" y="402"/>
                    </a:cxn>
                    <a:cxn ang="0">
                      <a:pos x="1141" y="426"/>
                    </a:cxn>
                    <a:cxn ang="0">
                      <a:pos x="1176" y="438"/>
                    </a:cxn>
                    <a:cxn ang="0">
                      <a:pos x="1086" y="517"/>
                    </a:cxn>
                    <a:cxn ang="0">
                      <a:pos x="964" y="539"/>
                    </a:cxn>
                    <a:cxn ang="0">
                      <a:pos x="878" y="594"/>
                    </a:cxn>
                    <a:cxn ang="0">
                      <a:pos x="1010" y="557"/>
                    </a:cxn>
                    <a:cxn ang="0">
                      <a:pos x="989" y="582"/>
                    </a:cxn>
                    <a:cxn ang="0">
                      <a:pos x="1031" y="618"/>
                    </a:cxn>
                    <a:cxn ang="0">
                      <a:pos x="1056" y="618"/>
                    </a:cxn>
                    <a:cxn ang="0">
                      <a:pos x="942" y="684"/>
                    </a:cxn>
                    <a:cxn ang="0">
                      <a:pos x="964" y="630"/>
                    </a:cxn>
                  </a:cxnLst>
                  <a:rect l="0" t="0" r="r" b="b"/>
                  <a:pathLst>
                    <a:path w="1176" h="724">
                      <a:moveTo>
                        <a:pt x="934" y="630"/>
                      </a:moveTo>
                      <a:lnTo>
                        <a:pt x="925" y="630"/>
                      </a:lnTo>
                      <a:lnTo>
                        <a:pt x="934" y="594"/>
                      </a:lnTo>
                      <a:lnTo>
                        <a:pt x="909" y="582"/>
                      </a:lnTo>
                      <a:lnTo>
                        <a:pt x="878" y="630"/>
                      </a:lnTo>
                      <a:lnTo>
                        <a:pt x="857" y="648"/>
                      </a:lnTo>
                      <a:lnTo>
                        <a:pt x="802" y="648"/>
                      </a:lnTo>
                      <a:lnTo>
                        <a:pt x="780" y="659"/>
                      </a:lnTo>
                      <a:lnTo>
                        <a:pt x="756" y="673"/>
                      </a:lnTo>
                      <a:lnTo>
                        <a:pt x="716" y="673"/>
                      </a:lnTo>
                      <a:lnTo>
                        <a:pt x="701" y="684"/>
                      </a:lnTo>
                      <a:lnTo>
                        <a:pt x="716" y="684"/>
                      </a:lnTo>
                      <a:lnTo>
                        <a:pt x="725" y="695"/>
                      </a:lnTo>
                      <a:lnTo>
                        <a:pt x="670" y="695"/>
                      </a:lnTo>
                      <a:lnTo>
                        <a:pt x="636" y="724"/>
                      </a:lnTo>
                      <a:lnTo>
                        <a:pt x="658" y="684"/>
                      </a:lnTo>
                      <a:lnTo>
                        <a:pt x="670" y="684"/>
                      </a:lnTo>
                      <a:lnTo>
                        <a:pt x="691" y="630"/>
                      </a:lnTo>
                      <a:lnTo>
                        <a:pt x="716" y="659"/>
                      </a:lnTo>
                      <a:lnTo>
                        <a:pt x="725" y="648"/>
                      </a:lnTo>
                      <a:lnTo>
                        <a:pt x="716" y="618"/>
                      </a:lnTo>
                      <a:lnTo>
                        <a:pt x="658" y="608"/>
                      </a:lnTo>
                      <a:lnTo>
                        <a:pt x="670" y="568"/>
                      </a:lnTo>
                      <a:lnTo>
                        <a:pt x="649" y="568"/>
                      </a:lnTo>
                      <a:lnTo>
                        <a:pt x="649" y="557"/>
                      </a:lnTo>
                      <a:lnTo>
                        <a:pt x="624" y="539"/>
                      </a:lnTo>
                      <a:lnTo>
                        <a:pt x="581" y="568"/>
                      </a:lnTo>
                      <a:lnTo>
                        <a:pt x="594" y="568"/>
                      </a:lnTo>
                      <a:lnTo>
                        <a:pt x="526" y="557"/>
                      </a:lnTo>
                      <a:lnTo>
                        <a:pt x="517" y="539"/>
                      </a:lnTo>
                      <a:lnTo>
                        <a:pt x="501" y="539"/>
                      </a:lnTo>
                      <a:lnTo>
                        <a:pt x="64" y="539"/>
                      </a:lnTo>
                      <a:lnTo>
                        <a:pt x="42" y="517"/>
                      </a:lnTo>
                      <a:lnTo>
                        <a:pt x="21" y="492"/>
                      </a:lnTo>
                      <a:lnTo>
                        <a:pt x="33" y="464"/>
                      </a:lnTo>
                      <a:lnTo>
                        <a:pt x="21" y="464"/>
                      </a:lnTo>
                      <a:lnTo>
                        <a:pt x="21" y="426"/>
                      </a:lnTo>
                      <a:lnTo>
                        <a:pt x="54" y="416"/>
                      </a:lnTo>
                      <a:lnTo>
                        <a:pt x="64" y="390"/>
                      </a:lnTo>
                      <a:lnTo>
                        <a:pt x="54" y="373"/>
                      </a:lnTo>
                      <a:lnTo>
                        <a:pt x="64" y="325"/>
                      </a:lnTo>
                      <a:lnTo>
                        <a:pt x="64" y="297"/>
                      </a:lnTo>
                      <a:lnTo>
                        <a:pt x="21" y="311"/>
                      </a:lnTo>
                      <a:lnTo>
                        <a:pt x="9" y="297"/>
                      </a:lnTo>
                      <a:lnTo>
                        <a:pt x="21" y="282"/>
                      </a:lnTo>
                      <a:lnTo>
                        <a:pt x="0" y="282"/>
                      </a:lnTo>
                      <a:lnTo>
                        <a:pt x="208" y="90"/>
                      </a:lnTo>
                      <a:lnTo>
                        <a:pt x="254" y="105"/>
                      </a:lnTo>
                      <a:lnTo>
                        <a:pt x="272" y="90"/>
                      </a:lnTo>
                      <a:lnTo>
                        <a:pt x="293" y="90"/>
                      </a:lnTo>
                      <a:lnTo>
                        <a:pt x="360" y="79"/>
                      </a:lnTo>
                      <a:lnTo>
                        <a:pt x="395" y="69"/>
                      </a:lnTo>
                      <a:lnTo>
                        <a:pt x="407" y="79"/>
                      </a:lnTo>
                      <a:lnTo>
                        <a:pt x="395" y="90"/>
                      </a:lnTo>
                      <a:lnTo>
                        <a:pt x="425" y="90"/>
                      </a:lnTo>
                      <a:lnTo>
                        <a:pt x="450" y="79"/>
                      </a:lnTo>
                      <a:lnTo>
                        <a:pt x="471" y="79"/>
                      </a:lnTo>
                      <a:lnTo>
                        <a:pt x="483" y="90"/>
                      </a:lnTo>
                      <a:lnTo>
                        <a:pt x="539" y="105"/>
                      </a:lnTo>
                      <a:lnTo>
                        <a:pt x="539" y="116"/>
                      </a:lnTo>
                      <a:lnTo>
                        <a:pt x="501" y="126"/>
                      </a:lnTo>
                      <a:lnTo>
                        <a:pt x="539" y="126"/>
                      </a:lnTo>
                      <a:lnTo>
                        <a:pt x="581" y="116"/>
                      </a:lnTo>
                      <a:lnTo>
                        <a:pt x="603" y="126"/>
                      </a:lnTo>
                      <a:lnTo>
                        <a:pt x="614" y="116"/>
                      </a:lnTo>
                      <a:lnTo>
                        <a:pt x="603" y="116"/>
                      </a:lnTo>
                      <a:lnTo>
                        <a:pt x="658" y="105"/>
                      </a:lnTo>
                      <a:lnTo>
                        <a:pt x="658" y="116"/>
                      </a:lnTo>
                      <a:lnTo>
                        <a:pt x="691" y="126"/>
                      </a:lnTo>
                      <a:lnTo>
                        <a:pt x="725" y="126"/>
                      </a:lnTo>
                      <a:lnTo>
                        <a:pt x="756" y="105"/>
                      </a:lnTo>
                      <a:lnTo>
                        <a:pt x="735" y="105"/>
                      </a:lnTo>
                      <a:lnTo>
                        <a:pt x="780" y="79"/>
                      </a:lnTo>
                      <a:lnTo>
                        <a:pt x="790" y="90"/>
                      </a:lnTo>
                      <a:lnTo>
                        <a:pt x="790" y="105"/>
                      </a:lnTo>
                      <a:lnTo>
                        <a:pt x="768" y="116"/>
                      </a:lnTo>
                      <a:lnTo>
                        <a:pt x="756" y="126"/>
                      </a:lnTo>
                      <a:lnTo>
                        <a:pt x="768" y="126"/>
                      </a:lnTo>
                      <a:lnTo>
                        <a:pt x="802" y="105"/>
                      </a:lnTo>
                      <a:lnTo>
                        <a:pt x="823" y="90"/>
                      </a:lnTo>
                      <a:lnTo>
                        <a:pt x="802" y="79"/>
                      </a:lnTo>
                      <a:lnTo>
                        <a:pt x="802" y="69"/>
                      </a:lnTo>
                      <a:lnTo>
                        <a:pt x="845" y="40"/>
                      </a:lnTo>
                      <a:lnTo>
                        <a:pt x="878" y="14"/>
                      </a:lnTo>
                      <a:lnTo>
                        <a:pt x="909" y="0"/>
                      </a:lnTo>
                      <a:lnTo>
                        <a:pt x="942" y="0"/>
                      </a:lnTo>
                      <a:lnTo>
                        <a:pt x="900" y="25"/>
                      </a:lnTo>
                      <a:lnTo>
                        <a:pt x="878" y="25"/>
                      </a:lnTo>
                      <a:lnTo>
                        <a:pt x="878" y="40"/>
                      </a:lnTo>
                      <a:lnTo>
                        <a:pt x="857" y="40"/>
                      </a:lnTo>
                      <a:lnTo>
                        <a:pt x="866" y="79"/>
                      </a:lnTo>
                      <a:lnTo>
                        <a:pt x="845" y="79"/>
                      </a:lnTo>
                      <a:lnTo>
                        <a:pt x="857" y="90"/>
                      </a:lnTo>
                      <a:lnTo>
                        <a:pt x="866" y="105"/>
                      </a:lnTo>
                      <a:lnTo>
                        <a:pt x="887" y="90"/>
                      </a:lnTo>
                      <a:lnTo>
                        <a:pt x="887" y="105"/>
                      </a:lnTo>
                      <a:lnTo>
                        <a:pt x="878" y="126"/>
                      </a:lnTo>
                      <a:lnTo>
                        <a:pt x="878" y="145"/>
                      </a:lnTo>
                      <a:lnTo>
                        <a:pt x="925" y="116"/>
                      </a:lnTo>
                      <a:lnTo>
                        <a:pt x="942" y="79"/>
                      </a:lnTo>
                      <a:lnTo>
                        <a:pt x="976" y="90"/>
                      </a:lnTo>
                      <a:lnTo>
                        <a:pt x="989" y="90"/>
                      </a:lnTo>
                      <a:lnTo>
                        <a:pt x="955" y="126"/>
                      </a:lnTo>
                      <a:lnTo>
                        <a:pt x="964" y="126"/>
                      </a:lnTo>
                      <a:lnTo>
                        <a:pt x="955" y="145"/>
                      </a:lnTo>
                      <a:lnTo>
                        <a:pt x="909" y="155"/>
                      </a:lnTo>
                      <a:lnTo>
                        <a:pt x="887" y="155"/>
                      </a:lnTo>
                      <a:lnTo>
                        <a:pt x="878" y="155"/>
                      </a:lnTo>
                      <a:lnTo>
                        <a:pt x="845" y="181"/>
                      </a:lnTo>
                      <a:lnTo>
                        <a:pt x="810" y="206"/>
                      </a:lnTo>
                      <a:lnTo>
                        <a:pt x="790" y="206"/>
                      </a:lnTo>
                      <a:lnTo>
                        <a:pt x="768" y="235"/>
                      </a:lnTo>
                      <a:lnTo>
                        <a:pt x="735" y="235"/>
                      </a:lnTo>
                      <a:lnTo>
                        <a:pt x="725" y="246"/>
                      </a:lnTo>
                      <a:lnTo>
                        <a:pt x="691" y="272"/>
                      </a:lnTo>
                      <a:lnTo>
                        <a:pt x="649" y="311"/>
                      </a:lnTo>
                      <a:lnTo>
                        <a:pt x="649" y="325"/>
                      </a:lnTo>
                      <a:lnTo>
                        <a:pt x="670" y="325"/>
                      </a:lnTo>
                      <a:lnTo>
                        <a:pt x="658" y="362"/>
                      </a:lnTo>
                      <a:lnTo>
                        <a:pt x="679" y="362"/>
                      </a:lnTo>
                      <a:lnTo>
                        <a:pt x="746" y="402"/>
                      </a:lnTo>
                      <a:lnTo>
                        <a:pt x="790" y="416"/>
                      </a:lnTo>
                      <a:lnTo>
                        <a:pt x="756" y="452"/>
                      </a:lnTo>
                      <a:lnTo>
                        <a:pt x="780" y="492"/>
                      </a:lnTo>
                      <a:lnTo>
                        <a:pt x="810" y="481"/>
                      </a:lnTo>
                      <a:lnTo>
                        <a:pt x="823" y="416"/>
                      </a:lnTo>
                      <a:lnTo>
                        <a:pt x="878" y="390"/>
                      </a:lnTo>
                      <a:lnTo>
                        <a:pt x="900" y="337"/>
                      </a:lnTo>
                      <a:lnTo>
                        <a:pt x="887" y="325"/>
                      </a:lnTo>
                      <a:lnTo>
                        <a:pt x="909" y="297"/>
                      </a:lnTo>
                      <a:lnTo>
                        <a:pt x="925" y="272"/>
                      </a:lnTo>
                      <a:lnTo>
                        <a:pt x="934" y="246"/>
                      </a:lnTo>
                      <a:lnTo>
                        <a:pt x="955" y="235"/>
                      </a:lnTo>
                      <a:lnTo>
                        <a:pt x="1001" y="246"/>
                      </a:lnTo>
                      <a:lnTo>
                        <a:pt x="1019" y="260"/>
                      </a:lnTo>
                      <a:lnTo>
                        <a:pt x="1019" y="272"/>
                      </a:lnTo>
                      <a:lnTo>
                        <a:pt x="1041" y="272"/>
                      </a:lnTo>
                      <a:lnTo>
                        <a:pt x="1031" y="311"/>
                      </a:lnTo>
                      <a:lnTo>
                        <a:pt x="1041" y="337"/>
                      </a:lnTo>
                      <a:lnTo>
                        <a:pt x="1086" y="311"/>
                      </a:lnTo>
                      <a:lnTo>
                        <a:pt x="1086" y="297"/>
                      </a:lnTo>
                      <a:lnTo>
                        <a:pt x="1108" y="282"/>
                      </a:lnTo>
                      <a:lnTo>
                        <a:pt x="1132" y="362"/>
                      </a:lnTo>
                      <a:lnTo>
                        <a:pt x="1108" y="373"/>
                      </a:lnTo>
                      <a:lnTo>
                        <a:pt x="1132" y="390"/>
                      </a:lnTo>
                      <a:lnTo>
                        <a:pt x="1117" y="402"/>
                      </a:lnTo>
                      <a:lnTo>
                        <a:pt x="1141" y="402"/>
                      </a:lnTo>
                      <a:lnTo>
                        <a:pt x="1141" y="416"/>
                      </a:lnTo>
                      <a:lnTo>
                        <a:pt x="1163" y="416"/>
                      </a:lnTo>
                      <a:lnTo>
                        <a:pt x="1141" y="426"/>
                      </a:lnTo>
                      <a:lnTo>
                        <a:pt x="1163" y="426"/>
                      </a:lnTo>
                      <a:lnTo>
                        <a:pt x="1163" y="438"/>
                      </a:lnTo>
                      <a:lnTo>
                        <a:pt x="1176" y="438"/>
                      </a:lnTo>
                      <a:lnTo>
                        <a:pt x="1176" y="481"/>
                      </a:lnTo>
                      <a:lnTo>
                        <a:pt x="1117" y="492"/>
                      </a:lnTo>
                      <a:lnTo>
                        <a:pt x="1086" y="517"/>
                      </a:lnTo>
                      <a:lnTo>
                        <a:pt x="1019" y="517"/>
                      </a:lnTo>
                      <a:lnTo>
                        <a:pt x="976" y="517"/>
                      </a:lnTo>
                      <a:lnTo>
                        <a:pt x="964" y="539"/>
                      </a:lnTo>
                      <a:lnTo>
                        <a:pt x="955" y="539"/>
                      </a:lnTo>
                      <a:lnTo>
                        <a:pt x="925" y="557"/>
                      </a:lnTo>
                      <a:lnTo>
                        <a:pt x="878" y="594"/>
                      </a:lnTo>
                      <a:lnTo>
                        <a:pt x="934" y="557"/>
                      </a:lnTo>
                      <a:lnTo>
                        <a:pt x="1001" y="539"/>
                      </a:lnTo>
                      <a:lnTo>
                        <a:pt x="1010" y="557"/>
                      </a:lnTo>
                      <a:lnTo>
                        <a:pt x="964" y="568"/>
                      </a:lnTo>
                      <a:lnTo>
                        <a:pt x="976" y="582"/>
                      </a:lnTo>
                      <a:lnTo>
                        <a:pt x="989" y="582"/>
                      </a:lnTo>
                      <a:lnTo>
                        <a:pt x="976" y="608"/>
                      </a:lnTo>
                      <a:lnTo>
                        <a:pt x="1001" y="618"/>
                      </a:lnTo>
                      <a:lnTo>
                        <a:pt x="1031" y="618"/>
                      </a:lnTo>
                      <a:lnTo>
                        <a:pt x="1056" y="594"/>
                      </a:lnTo>
                      <a:lnTo>
                        <a:pt x="1056" y="608"/>
                      </a:lnTo>
                      <a:lnTo>
                        <a:pt x="1056" y="618"/>
                      </a:lnTo>
                      <a:lnTo>
                        <a:pt x="1031" y="630"/>
                      </a:lnTo>
                      <a:lnTo>
                        <a:pt x="976" y="659"/>
                      </a:lnTo>
                      <a:lnTo>
                        <a:pt x="942" y="684"/>
                      </a:lnTo>
                      <a:lnTo>
                        <a:pt x="942" y="659"/>
                      </a:lnTo>
                      <a:lnTo>
                        <a:pt x="976" y="630"/>
                      </a:lnTo>
                      <a:lnTo>
                        <a:pt x="964" y="630"/>
                      </a:lnTo>
                      <a:lnTo>
                        <a:pt x="976" y="630"/>
                      </a:lnTo>
                      <a:lnTo>
                        <a:pt x="934" y="63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9" name="Freeform 333">
                  <a:extLst>
                    <a:ext uri="{FF2B5EF4-FFF2-40B4-BE49-F238E27FC236}">
                      <a16:creationId xmlns:a16="http://schemas.microsoft.com/office/drawing/2014/main" id="{2FF7A25A-1524-40FB-A3C0-F847C3B5D7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7003" y="1919300"/>
                  <a:ext cx="73025" cy="476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1" y="0"/>
                    </a:cxn>
                    <a:cxn ang="0">
                      <a:pos x="46" y="30"/>
                    </a:cxn>
                    <a:cxn ang="0">
                      <a:pos x="21" y="3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30">
                      <a:moveTo>
                        <a:pt x="0" y="0"/>
                      </a:moveTo>
                      <a:lnTo>
                        <a:pt x="21" y="0"/>
                      </a:lnTo>
                      <a:lnTo>
                        <a:pt x="46" y="30"/>
                      </a:lnTo>
                      <a:lnTo>
                        <a:pt x="21" y="3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0" name="Freeform 335">
                  <a:extLst>
                    <a:ext uri="{FF2B5EF4-FFF2-40B4-BE49-F238E27FC236}">
                      <a16:creationId xmlns:a16="http://schemas.microsoft.com/office/drawing/2014/main" id="{39BD1A70-123A-4DAF-95D7-6DDA899100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3365" y="1862150"/>
                  <a:ext cx="171450" cy="184151"/>
                </a:xfrm>
                <a:custGeom>
                  <a:avLst/>
                  <a:gdLst/>
                  <a:ahLst/>
                  <a:cxnLst>
                    <a:cxn ang="0">
                      <a:pos x="0" y="75"/>
                    </a:cxn>
                    <a:cxn ang="0">
                      <a:pos x="18" y="65"/>
                    </a:cxn>
                    <a:cxn ang="0">
                      <a:pos x="76" y="0"/>
                    </a:cxn>
                    <a:cxn ang="0">
                      <a:pos x="86" y="0"/>
                    </a:cxn>
                    <a:cxn ang="0">
                      <a:pos x="55" y="36"/>
                    </a:cxn>
                    <a:cxn ang="0">
                      <a:pos x="76" y="24"/>
                    </a:cxn>
                    <a:cxn ang="0">
                      <a:pos x="76" y="36"/>
                    </a:cxn>
                    <a:cxn ang="0">
                      <a:pos x="76" y="46"/>
                    </a:cxn>
                    <a:cxn ang="0">
                      <a:pos x="108" y="46"/>
                    </a:cxn>
                    <a:cxn ang="0">
                      <a:pos x="98" y="65"/>
                    </a:cxn>
                    <a:cxn ang="0">
                      <a:pos x="108" y="65"/>
                    </a:cxn>
                    <a:cxn ang="0">
                      <a:pos x="86" y="91"/>
                    </a:cxn>
                    <a:cxn ang="0">
                      <a:pos x="108" y="75"/>
                    </a:cxn>
                    <a:cxn ang="0">
                      <a:pos x="98" y="91"/>
                    </a:cxn>
                    <a:cxn ang="0">
                      <a:pos x="108" y="91"/>
                    </a:cxn>
                    <a:cxn ang="0">
                      <a:pos x="98" y="116"/>
                    </a:cxn>
                    <a:cxn ang="0">
                      <a:pos x="86" y="116"/>
                    </a:cxn>
                    <a:cxn ang="0">
                      <a:pos x="86" y="101"/>
                    </a:cxn>
                    <a:cxn ang="0">
                      <a:pos x="76" y="101"/>
                    </a:cxn>
                    <a:cxn ang="0">
                      <a:pos x="86" y="91"/>
                    </a:cxn>
                    <a:cxn ang="0">
                      <a:pos x="76" y="91"/>
                    </a:cxn>
                    <a:cxn ang="0">
                      <a:pos x="64" y="101"/>
                    </a:cxn>
                    <a:cxn ang="0">
                      <a:pos x="55" y="101"/>
                    </a:cxn>
                    <a:cxn ang="0">
                      <a:pos x="64" y="91"/>
                    </a:cxn>
                    <a:cxn ang="0">
                      <a:pos x="0" y="91"/>
                    </a:cxn>
                    <a:cxn ang="0">
                      <a:pos x="0" y="75"/>
                    </a:cxn>
                  </a:cxnLst>
                  <a:rect l="0" t="0" r="r" b="b"/>
                  <a:pathLst>
                    <a:path w="108" h="116">
                      <a:moveTo>
                        <a:pt x="0" y="75"/>
                      </a:moveTo>
                      <a:lnTo>
                        <a:pt x="18" y="65"/>
                      </a:lnTo>
                      <a:lnTo>
                        <a:pt x="76" y="0"/>
                      </a:lnTo>
                      <a:lnTo>
                        <a:pt x="86" y="0"/>
                      </a:lnTo>
                      <a:lnTo>
                        <a:pt x="55" y="36"/>
                      </a:lnTo>
                      <a:lnTo>
                        <a:pt x="76" y="24"/>
                      </a:lnTo>
                      <a:lnTo>
                        <a:pt x="76" y="36"/>
                      </a:lnTo>
                      <a:lnTo>
                        <a:pt x="76" y="46"/>
                      </a:lnTo>
                      <a:lnTo>
                        <a:pt x="108" y="46"/>
                      </a:lnTo>
                      <a:lnTo>
                        <a:pt x="98" y="65"/>
                      </a:lnTo>
                      <a:lnTo>
                        <a:pt x="108" y="65"/>
                      </a:lnTo>
                      <a:lnTo>
                        <a:pt x="86" y="91"/>
                      </a:lnTo>
                      <a:lnTo>
                        <a:pt x="108" y="75"/>
                      </a:lnTo>
                      <a:lnTo>
                        <a:pt x="98" y="91"/>
                      </a:lnTo>
                      <a:lnTo>
                        <a:pt x="108" y="91"/>
                      </a:lnTo>
                      <a:lnTo>
                        <a:pt x="98" y="116"/>
                      </a:lnTo>
                      <a:lnTo>
                        <a:pt x="86" y="116"/>
                      </a:lnTo>
                      <a:lnTo>
                        <a:pt x="86" y="101"/>
                      </a:lnTo>
                      <a:lnTo>
                        <a:pt x="76" y="101"/>
                      </a:lnTo>
                      <a:lnTo>
                        <a:pt x="86" y="91"/>
                      </a:lnTo>
                      <a:lnTo>
                        <a:pt x="76" y="91"/>
                      </a:lnTo>
                      <a:lnTo>
                        <a:pt x="64" y="101"/>
                      </a:lnTo>
                      <a:lnTo>
                        <a:pt x="55" y="101"/>
                      </a:lnTo>
                      <a:lnTo>
                        <a:pt x="64" y="91"/>
                      </a:lnTo>
                      <a:lnTo>
                        <a:pt x="0" y="91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1" name="Freeform 337">
                  <a:extLst>
                    <a:ext uri="{FF2B5EF4-FFF2-40B4-BE49-F238E27FC236}">
                      <a16:creationId xmlns:a16="http://schemas.microsoft.com/office/drawing/2014/main" id="{2D271C4E-8B15-4473-89B3-36D3EC5F62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0140" y="1327159"/>
                  <a:ext cx="176213" cy="101601"/>
                </a:xfrm>
                <a:custGeom>
                  <a:avLst/>
                  <a:gdLst/>
                  <a:ahLst/>
                  <a:cxnLst>
                    <a:cxn ang="0">
                      <a:pos x="0" y="49"/>
                    </a:cxn>
                    <a:cxn ang="0">
                      <a:pos x="21" y="49"/>
                    </a:cxn>
                    <a:cxn ang="0">
                      <a:pos x="43" y="25"/>
                    </a:cxn>
                    <a:cxn ang="0">
                      <a:pos x="64" y="0"/>
                    </a:cxn>
                    <a:cxn ang="0">
                      <a:pos x="64" y="14"/>
                    </a:cxn>
                    <a:cxn ang="0">
                      <a:pos x="111" y="49"/>
                    </a:cxn>
                    <a:cxn ang="0">
                      <a:pos x="86" y="64"/>
                    </a:cxn>
                    <a:cxn ang="0">
                      <a:pos x="64" y="49"/>
                    </a:cxn>
                    <a:cxn ang="0">
                      <a:pos x="55" y="49"/>
                    </a:cxn>
                    <a:cxn ang="0">
                      <a:pos x="21" y="64"/>
                    </a:cxn>
                    <a:cxn ang="0">
                      <a:pos x="21" y="49"/>
                    </a:cxn>
                    <a:cxn ang="0">
                      <a:pos x="0" y="49"/>
                    </a:cxn>
                  </a:cxnLst>
                  <a:rect l="0" t="0" r="r" b="b"/>
                  <a:pathLst>
                    <a:path w="111" h="64">
                      <a:moveTo>
                        <a:pt x="0" y="49"/>
                      </a:moveTo>
                      <a:lnTo>
                        <a:pt x="21" y="49"/>
                      </a:lnTo>
                      <a:lnTo>
                        <a:pt x="43" y="25"/>
                      </a:lnTo>
                      <a:lnTo>
                        <a:pt x="64" y="0"/>
                      </a:lnTo>
                      <a:lnTo>
                        <a:pt x="64" y="14"/>
                      </a:lnTo>
                      <a:lnTo>
                        <a:pt x="111" y="49"/>
                      </a:lnTo>
                      <a:lnTo>
                        <a:pt x="86" y="64"/>
                      </a:lnTo>
                      <a:lnTo>
                        <a:pt x="64" y="49"/>
                      </a:lnTo>
                      <a:lnTo>
                        <a:pt x="55" y="49"/>
                      </a:lnTo>
                      <a:lnTo>
                        <a:pt x="21" y="64"/>
                      </a:lnTo>
                      <a:lnTo>
                        <a:pt x="21" y="49"/>
                      </a:lnTo>
                      <a:lnTo>
                        <a:pt x="0" y="49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2" name="Freeform 349">
                  <a:extLst>
                    <a:ext uri="{FF2B5EF4-FFF2-40B4-BE49-F238E27FC236}">
                      <a16:creationId xmlns:a16="http://schemas.microsoft.com/office/drawing/2014/main" id="{1911D9CC-0584-4DC1-9512-86541C2B6B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1128" y="838206"/>
                  <a:ext cx="676276" cy="184151"/>
                </a:xfrm>
                <a:custGeom>
                  <a:avLst/>
                  <a:gdLst/>
                  <a:ahLst/>
                  <a:cxnLst>
                    <a:cxn ang="0">
                      <a:pos x="86" y="21"/>
                    </a:cxn>
                    <a:cxn ang="0">
                      <a:pos x="263" y="0"/>
                    </a:cxn>
                    <a:cxn ang="0">
                      <a:pos x="339" y="0"/>
                    </a:cxn>
                    <a:cxn ang="0">
                      <a:pos x="426" y="10"/>
                    </a:cxn>
                    <a:cxn ang="0">
                      <a:pos x="239" y="50"/>
                    </a:cxn>
                    <a:cxn ang="0">
                      <a:pos x="195" y="75"/>
                    </a:cxn>
                    <a:cxn ang="0">
                      <a:pos x="162" y="75"/>
                    </a:cxn>
                    <a:cxn ang="0">
                      <a:pos x="162" y="87"/>
                    </a:cxn>
                    <a:cxn ang="0">
                      <a:pos x="140" y="87"/>
                    </a:cxn>
                    <a:cxn ang="0">
                      <a:pos x="153" y="101"/>
                    </a:cxn>
                    <a:cxn ang="0">
                      <a:pos x="95" y="116"/>
                    </a:cxn>
                    <a:cxn ang="0">
                      <a:pos x="95" y="101"/>
                    </a:cxn>
                    <a:cxn ang="0">
                      <a:pos x="0" y="101"/>
                    </a:cxn>
                    <a:cxn ang="0">
                      <a:pos x="9" y="101"/>
                    </a:cxn>
                    <a:cxn ang="0">
                      <a:pos x="40" y="75"/>
                    </a:cxn>
                    <a:cxn ang="0">
                      <a:pos x="107" y="65"/>
                    </a:cxn>
                    <a:cxn ang="0">
                      <a:pos x="107" y="50"/>
                    </a:cxn>
                    <a:cxn ang="0">
                      <a:pos x="95" y="50"/>
                    </a:cxn>
                    <a:cxn ang="0">
                      <a:pos x="117" y="39"/>
                    </a:cxn>
                    <a:cxn ang="0">
                      <a:pos x="95" y="39"/>
                    </a:cxn>
                    <a:cxn ang="0">
                      <a:pos x="86" y="21"/>
                    </a:cxn>
                  </a:cxnLst>
                  <a:rect l="0" t="0" r="r" b="b"/>
                  <a:pathLst>
                    <a:path w="426" h="116">
                      <a:moveTo>
                        <a:pt x="86" y="21"/>
                      </a:moveTo>
                      <a:lnTo>
                        <a:pt x="263" y="0"/>
                      </a:lnTo>
                      <a:lnTo>
                        <a:pt x="339" y="0"/>
                      </a:lnTo>
                      <a:lnTo>
                        <a:pt x="426" y="10"/>
                      </a:lnTo>
                      <a:lnTo>
                        <a:pt x="239" y="50"/>
                      </a:lnTo>
                      <a:lnTo>
                        <a:pt x="195" y="75"/>
                      </a:lnTo>
                      <a:lnTo>
                        <a:pt x="162" y="75"/>
                      </a:lnTo>
                      <a:lnTo>
                        <a:pt x="162" y="87"/>
                      </a:lnTo>
                      <a:lnTo>
                        <a:pt x="140" y="87"/>
                      </a:lnTo>
                      <a:lnTo>
                        <a:pt x="153" y="101"/>
                      </a:lnTo>
                      <a:lnTo>
                        <a:pt x="95" y="116"/>
                      </a:lnTo>
                      <a:lnTo>
                        <a:pt x="95" y="101"/>
                      </a:lnTo>
                      <a:lnTo>
                        <a:pt x="0" y="101"/>
                      </a:lnTo>
                      <a:lnTo>
                        <a:pt x="9" y="101"/>
                      </a:lnTo>
                      <a:lnTo>
                        <a:pt x="40" y="75"/>
                      </a:lnTo>
                      <a:lnTo>
                        <a:pt x="107" y="65"/>
                      </a:lnTo>
                      <a:lnTo>
                        <a:pt x="107" y="50"/>
                      </a:lnTo>
                      <a:lnTo>
                        <a:pt x="95" y="50"/>
                      </a:lnTo>
                      <a:lnTo>
                        <a:pt x="117" y="39"/>
                      </a:lnTo>
                      <a:lnTo>
                        <a:pt x="95" y="39"/>
                      </a:lnTo>
                      <a:lnTo>
                        <a:pt x="86" y="2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3" name="Freeform 351">
                  <a:extLst>
                    <a:ext uri="{FF2B5EF4-FFF2-40B4-BE49-F238E27FC236}">
                      <a16:creationId xmlns:a16="http://schemas.microsoft.com/office/drawing/2014/main" id="{3601046C-CB48-4F11-8192-A4B5B7EA04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4115" y="941394"/>
                  <a:ext cx="169863" cy="476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" y="0"/>
                    </a:cxn>
                    <a:cxn ang="0">
                      <a:pos x="67" y="0"/>
                    </a:cxn>
                    <a:cxn ang="0">
                      <a:pos x="51" y="15"/>
                    </a:cxn>
                    <a:cxn ang="0">
                      <a:pos x="67" y="15"/>
                    </a:cxn>
                    <a:cxn ang="0">
                      <a:pos x="85" y="0"/>
                    </a:cxn>
                    <a:cxn ang="0">
                      <a:pos x="107" y="15"/>
                    </a:cxn>
                    <a:cxn ang="0">
                      <a:pos x="42" y="30"/>
                    </a:cxn>
                    <a:cxn ang="0">
                      <a:pos x="42" y="15"/>
                    </a:cxn>
                    <a:cxn ang="0">
                      <a:pos x="9" y="15"/>
                    </a:cxn>
                    <a:cxn ang="0">
                      <a:pos x="0" y="0"/>
                    </a:cxn>
                    <a:cxn ang="0">
                      <a:pos x="2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7" h="30">
                      <a:moveTo>
                        <a:pt x="0" y="0"/>
                      </a:moveTo>
                      <a:lnTo>
                        <a:pt x="51" y="0"/>
                      </a:lnTo>
                      <a:lnTo>
                        <a:pt x="67" y="0"/>
                      </a:lnTo>
                      <a:lnTo>
                        <a:pt x="51" y="15"/>
                      </a:lnTo>
                      <a:lnTo>
                        <a:pt x="67" y="15"/>
                      </a:lnTo>
                      <a:lnTo>
                        <a:pt x="85" y="0"/>
                      </a:lnTo>
                      <a:lnTo>
                        <a:pt x="107" y="15"/>
                      </a:lnTo>
                      <a:lnTo>
                        <a:pt x="42" y="30"/>
                      </a:lnTo>
                      <a:lnTo>
                        <a:pt x="42" y="15"/>
                      </a:lnTo>
                      <a:lnTo>
                        <a:pt x="9" y="15"/>
                      </a:lnTo>
                      <a:lnTo>
                        <a:pt x="0" y="0"/>
                      </a:lnTo>
                      <a:lnTo>
                        <a:pt x="2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4" name="Freeform 355">
                  <a:extLst>
                    <a:ext uri="{FF2B5EF4-FFF2-40B4-BE49-F238E27FC236}">
                      <a16:creationId xmlns:a16="http://schemas.microsoft.com/office/drawing/2014/main" id="{F993BFD6-654E-4D9E-8D8E-212E5C7B7B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49502" y="998544"/>
                  <a:ext cx="141288" cy="476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1" y="0"/>
                    </a:cxn>
                    <a:cxn ang="0">
                      <a:pos x="34" y="15"/>
                    </a:cxn>
                    <a:cxn ang="0">
                      <a:pos x="55" y="0"/>
                    </a:cxn>
                    <a:cxn ang="0">
                      <a:pos x="89" y="0"/>
                    </a:cxn>
                    <a:cxn ang="0">
                      <a:pos x="55" y="30"/>
                    </a:cxn>
                    <a:cxn ang="0">
                      <a:pos x="21" y="30"/>
                    </a:cxn>
                    <a:cxn ang="0">
                      <a:pos x="0" y="3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89" h="30">
                      <a:moveTo>
                        <a:pt x="0" y="0"/>
                      </a:moveTo>
                      <a:lnTo>
                        <a:pt x="21" y="0"/>
                      </a:lnTo>
                      <a:lnTo>
                        <a:pt x="34" y="15"/>
                      </a:lnTo>
                      <a:lnTo>
                        <a:pt x="55" y="0"/>
                      </a:lnTo>
                      <a:lnTo>
                        <a:pt x="89" y="0"/>
                      </a:lnTo>
                      <a:lnTo>
                        <a:pt x="55" y="30"/>
                      </a:lnTo>
                      <a:lnTo>
                        <a:pt x="21" y="30"/>
                      </a:lnTo>
                      <a:lnTo>
                        <a:pt x="0" y="3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5" name="Freeform 359">
                  <a:extLst>
                    <a:ext uri="{FF2B5EF4-FFF2-40B4-BE49-F238E27FC236}">
                      <a16:creationId xmlns:a16="http://schemas.microsoft.com/office/drawing/2014/main" id="{81E8E816-9991-4D69-9942-D549332A1F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5965" y="976319"/>
                  <a:ext cx="188913" cy="47625"/>
                </a:xfrm>
                <a:custGeom>
                  <a:avLst/>
                  <a:gdLst/>
                  <a:ahLst/>
                  <a:cxnLst>
                    <a:cxn ang="0">
                      <a:pos x="0" y="30"/>
                    </a:cxn>
                    <a:cxn ang="0">
                      <a:pos x="76" y="0"/>
                    </a:cxn>
                    <a:cxn ang="0">
                      <a:pos x="119" y="0"/>
                    </a:cxn>
                    <a:cxn ang="0">
                      <a:pos x="76" y="30"/>
                    </a:cxn>
                    <a:cxn ang="0">
                      <a:pos x="67" y="15"/>
                    </a:cxn>
                    <a:cxn ang="0">
                      <a:pos x="33" y="30"/>
                    </a:cxn>
                    <a:cxn ang="0">
                      <a:pos x="0" y="30"/>
                    </a:cxn>
                  </a:cxnLst>
                  <a:rect l="0" t="0" r="r" b="b"/>
                  <a:pathLst>
                    <a:path w="119" h="30">
                      <a:moveTo>
                        <a:pt x="0" y="30"/>
                      </a:moveTo>
                      <a:lnTo>
                        <a:pt x="76" y="0"/>
                      </a:lnTo>
                      <a:lnTo>
                        <a:pt x="119" y="0"/>
                      </a:lnTo>
                      <a:lnTo>
                        <a:pt x="76" y="30"/>
                      </a:lnTo>
                      <a:lnTo>
                        <a:pt x="67" y="15"/>
                      </a:lnTo>
                      <a:lnTo>
                        <a:pt x="33" y="30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6" name="Freeform 361">
                  <a:extLst>
                    <a:ext uri="{FF2B5EF4-FFF2-40B4-BE49-F238E27FC236}">
                      <a16:creationId xmlns:a16="http://schemas.microsoft.com/office/drawing/2014/main" id="{3EF6BB48-A0FE-4435-BDEE-2FE485C52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2640" y="998544"/>
                  <a:ext cx="263525" cy="65088"/>
                </a:xfrm>
                <a:custGeom>
                  <a:avLst/>
                  <a:gdLst/>
                  <a:ahLst/>
                  <a:cxnLst>
                    <a:cxn ang="0">
                      <a:pos x="0" y="29"/>
                    </a:cxn>
                    <a:cxn ang="0">
                      <a:pos x="55" y="0"/>
                    </a:cxn>
                    <a:cxn ang="0">
                      <a:pos x="92" y="14"/>
                    </a:cxn>
                    <a:cxn ang="0">
                      <a:pos x="92" y="29"/>
                    </a:cxn>
                    <a:cxn ang="0">
                      <a:pos x="111" y="29"/>
                    </a:cxn>
                    <a:cxn ang="0">
                      <a:pos x="111" y="14"/>
                    </a:cxn>
                    <a:cxn ang="0">
                      <a:pos x="122" y="14"/>
                    </a:cxn>
                    <a:cxn ang="0">
                      <a:pos x="111" y="14"/>
                    </a:cxn>
                    <a:cxn ang="0">
                      <a:pos x="144" y="0"/>
                    </a:cxn>
                    <a:cxn ang="0">
                      <a:pos x="144" y="14"/>
                    </a:cxn>
                    <a:cxn ang="0">
                      <a:pos x="166" y="14"/>
                    </a:cxn>
                    <a:cxn ang="0">
                      <a:pos x="144" y="29"/>
                    </a:cxn>
                    <a:cxn ang="0">
                      <a:pos x="55" y="41"/>
                    </a:cxn>
                    <a:cxn ang="0">
                      <a:pos x="46" y="29"/>
                    </a:cxn>
                    <a:cxn ang="0">
                      <a:pos x="34" y="29"/>
                    </a:cxn>
                    <a:cxn ang="0">
                      <a:pos x="0" y="29"/>
                    </a:cxn>
                  </a:cxnLst>
                  <a:rect l="0" t="0" r="r" b="b"/>
                  <a:pathLst>
                    <a:path w="166" h="41">
                      <a:moveTo>
                        <a:pt x="0" y="29"/>
                      </a:moveTo>
                      <a:lnTo>
                        <a:pt x="55" y="0"/>
                      </a:lnTo>
                      <a:lnTo>
                        <a:pt x="92" y="14"/>
                      </a:lnTo>
                      <a:lnTo>
                        <a:pt x="92" y="29"/>
                      </a:lnTo>
                      <a:lnTo>
                        <a:pt x="111" y="29"/>
                      </a:lnTo>
                      <a:lnTo>
                        <a:pt x="111" y="14"/>
                      </a:lnTo>
                      <a:lnTo>
                        <a:pt x="122" y="14"/>
                      </a:lnTo>
                      <a:lnTo>
                        <a:pt x="111" y="14"/>
                      </a:lnTo>
                      <a:lnTo>
                        <a:pt x="144" y="0"/>
                      </a:lnTo>
                      <a:lnTo>
                        <a:pt x="144" y="14"/>
                      </a:lnTo>
                      <a:lnTo>
                        <a:pt x="166" y="14"/>
                      </a:lnTo>
                      <a:lnTo>
                        <a:pt x="144" y="29"/>
                      </a:lnTo>
                      <a:lnTo>
                        <a:pt x="55" y="41"/>
                      </a:lnTo>
                      <a:lnTo>
                        <a:pt x="46" y="29"/>
                      </a:lnTo>
                      <a:lnTo>
                        <a:pt x="34" y="29"/>
                      </a:lnTo>
                      <a:lnTo>
                        <a:pt x="0" y="29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247" name="Freeform 249">
                <a:extLst>
                  <a:ext uri="{FF2B5EF4-FFF2-40B4-BE49-F238E27FC236}">
                    <a16:creationId xmlns:a16="http://schemas.microsoft.com/office/drawing/2014/main" id="{9D363FEE-15CE-4C65-BF52-9E23E2C10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535" y="3113613"/>
                <a:ext cx="660245" cy="594905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186" y="25"/>
                  </a:cxn>
                  <a:cxn ang="0">
                    <a:pos x="199" y="64"/>
                  </a:cxn>
                  <a:cxn ang="0">
                    <a:pos x="218" y="90"/>
                  </a:cxn>
                  <a:cxn ang="0">
                    <a:pos x="254" y="79"/>
                  </a:cxn>
                  <a:cxn ang="0">
                    <a:pos x="307" y="165"/>
                  </a:cxn>
                  <a:cxn ang="0">
                    <a:pos x="285" y="245"/>
                  </a:cxn>
                  <a:cxn ang="0">
                    <a:pos x="331" y="346"/>
                  </a:cxn>
                  <a:cxn ang="0">
                    <a:pos x="383" y="346"/>
                  </a:cxn>
                  <a:cxn ang="0">
                    <a:pos x="383" y="335"/>
                  </a:cxn>
                  <a:cxn ang="0">
                    <a:pos x="417" y="281"/>
                  </a:cxn>
                  <a:cxn ang="0">
                    <a:pos x="485" y="270"/>
                  </a:cxn>
                  <a:cxn ang="0">
                    <a:pos x="447" y="360"/>
                  </a:cxn>
                  <a:cxn ang="0">
                    <a:pos x="429" y="360"/>
                  </a:cxn>
                  <a:cxn ang="0">
                    <a:pos x="383" y="375"/>
                  </a:cxn>
                  <a:cxn ang="0">
                    <a:pos x="383" y="401"/>
                  </a:cxn>
                  <a:cxn ang="0">
                    <a:pos x="331" y="401"/>
                  </a:cxn>
                  <a:cxn ang="0">
                    <a:pos x="285" y="411"/>
                  </a:cxn>
                  <a:cxn ang="0">
                    <a:pos x="208" y="375"/>
                  </a:cxn>
                  <a:cxn ang="0">
                    <a:pos x="163" y="346"/>
                  </a:cxn>
                  <a:cxn ang="0">
                    <a:pos x="131" y="299"/>
                  </a:cxn>
                  <a:cxn ang="0">
                    <a:pos x="141" y="245"/>
                  </a:cxn>
                  <a:cxn ang="0">
                    <a:pos x="86" y="165"/>
                  </a:cxn>
                  <a:cxn ang="0">
                    <a:pos x="76" y="129"/>
                  </a:cxn>
                  <a:cxn ang="0">
                    <a:pos x="64" y="90"/>
                  </a:cxn>
                  <a:cxn ang="0">
                    <a:pos x="55" y="25"/>
                  </a:cxn>
                  <a:cxn ang="0">
                    <a:pos x="21" y="64"/>
                  </a:cxn>
                  <a:cxn ang="0">
                    <a:pos x="64" y="209"/>
                  </a:cxn>
                  <a:cxn ang="0">
                    <a:pos x="64" y="245"/>
                  </a:cxn>
                  <a:cxn ang="0">
                    <a:pos x="31" y="191"/>
                  </a:cxn>
                  <a:cxn ang="0">
                    <a:pos x="43" y="155"/>
                  </a:cxn>
                  <a:cxn ang="0">
                    <a:pos x="0" y="115"/>
                  </a:cxn>
                  <a:cxn ang="0">
                    <a:pos x="21" y="100"/>
                  </a:cxn>
                  <a:cxn ang="0">
                    <a:pos x="0" y="0"/>
                  </a:cxn>
                </a:cxnLst>
                <a:rect l="0" t="0" r="r" b="b"/>
                <a:pathLst>
                  <a:path w="485" h="437">
                    <a:moveTo>
                      <a:pt x="0" y="0"/>
                    </a:moveTo>
                    <a:lnTo>
                      <a:pt x="43" y="0"/>
                    </a:lnTo>
                    <a:lnTo>
                      <a:pt x="98" y="43"/>
                    </a:lnTo>
                    <a:lnTo>
                      <a:pt x="186" y="25"/>
                    </a:lnTo>
                    <a:lnTo>
                      <a:pt x="199" y="54"/>
                    </a:lnTo>
                    <a:lnTo>
                      <a:pt x="199" y="64"/>
                    </a:lnTo>
                    <a:lnTo>
                      <a:pt x="208" y="90"/>
                    </a:lnTo>
                    <a:lnTo>
                      <a:pt x="218" y="90"/>
                    </a:lnTo>
                    <a:lnTo>
                      <a:pt x="230" y="64"/>
                    </a:lnTo>
                    <a:lnTo>
                      <a:pt x="254" y="79"/>
                    </a:lnTo>
                    <a:lnTo>
                      <a:pt x="276" y="155"/>
                    </a:lnTo>
                    <a:lnTo>
                      <a:pt x="307" y="165"/>
                    </a:lnTo>
                    <a:lnTo>
                      <a:pt x="294" y="209"/>
                    </a:lnTo>
                    <a:lnTo>
                      <a:pt x="285" y="245"/>
                    </a:lnTo>
                    <a:lnTo>
                      <a:pt x="307" y="320"/>
                    </a:lnTo>
                    <a:lnTo>
                      <a:pt x="331" y="346"/>
                    </a:lnTo>
                    <a:lnTo>
                      <a:pt x="371" y="346"/>
                    </a:lnTo>
                    <a:lnTo>
                      <a:pt x="383" y="346"/>
                    </a:lnTo>
                    <a:lnTo>
                      <a:pt x="395" y="346"/>
                    </a:lnTo>
                    <a:lnTo>
                      <a:pt x="383" y="335"/>
                    </a:lnTo>
                    <a:lnTo>
                      <a:pt x="408" y="320"/>
                    </a:lnTo>
                    <a:lnTo>
                      <a:pt x="417" y="281"/>
                    </a:lnTo>
                    <a:lnTo>
                      <a:pt x="463" y="270"/>
                    </a:lnTo>
                    <a:lnTo>
                      <a:pt x="485" y="270"/>
                    </a:lnTo>
                    <a:lnTo>
                      <a:pt x="447" y="346"/>
                    </a:lnTo>
                    <a:lnTo>
                      <a:pt x="447" y="360"/>
                    </a:lnTo>
                    <a:lnTo>
                      <a:pt x="439" y="346"/>
                    </a:lnTo>
                    <a:lnTo>
                      <a:pt x="429" y="360"/>
                    </a:lnTo>
                    <a:lnTo>
                      <a:pt x="395" y="360"/>
                    </a:lnTo>
                    <a:lnTo>
                      <a:pt x="383" y="375"/>
                    </a:lnTo>
                    <a:lnTo>
                      <a:pt x="395" y="401"/>
                    </a:lnTo>
                    <a:lnTo>
                      <a:pt x="383" y="401"/>
                    </a:lnTo>
                    <a:lnTo>
                      <a:pt x="362" y="437"/>
                    </a:lnTo>
                    <a:lnTo>
                      <a:pt x="331" y="401"/>
                    </a:lnTo>
                    <a:lnTo>
                      <a:pt x="307" y="401"/>
                    </a:lnTo>
                    <a:lnTo>
                      <a:pt x="285" y="411"/>
                    </a:lnTo>
                    <a:lnTo>
                      <a:pt x="263" y="401"/>
                    </a:lnTo>
                    <a:lnTo>
                      <a:pt x="208" y="375"/>
                    </a:lnTo>
                    <a:lnTo>
                      <a:pt x="199" y="360"/>
                    </a:lnTo>
                    <a:lnTo>
                      <a:pt x="163" y="346"/>
                    </a:lnTo>
                    <a:lnTo>
                      <a:pt x="141" y="310"/>
                    </a:lnTo>
                    <a:lnTo>
                      <a:pt x="131" y="299"/>
                    </a:lnTo>
                    <a:lnTo>
                      <a:pt x="153" y="270"/>
                    </a:lnTo>
                    <a:lnTo>
                      <a:pt x="141" y="245"/>
                    </a:lnTo>
                    <a:lnTo>
                      <a:pt x="107" y="179"/>
                    </a:lnTo>
                    <a:lnTo>
                      <a:pt x="86" y="165"/>
                    </a:lnTo>
                    <a:lnTo>
                      <a:pt x="98" y="155"/>
                    </a:lnTo>
                    <a:lnTo>
                      <a:pt x="76" y="129"/>
                    </a:lnTo>
                    <a:lnTo>
                      <a:pt x="76" y="115"/>
                    </a:lnTo>
                    <a:lnTo>
                      <a:pt x="64" y="90"/>
                    </a:lnTo>
                    <a:lnTo>
                      <a:pt x="55" y="43"/>
                    </a:lnTo>
                    <a:lnTo>
                      <a:pt x="55" y="25"/>
                    </a:lnTo>
                    <a:lnTo>
                      <a:pt x="31" y="25"/>
                    </a:lnTo>
                    <a:lnTo>
                      <a:pt x="21" y="64"/>
                    </a:lnTo>
                    <a:lnTo>
                      <a:pt x="55" y="155"/>
                    </a:lnTo>
                    <a:lnTo>
                      <a:pt x="64" y="209"/>
                    </a:lnTo>
                    <a:lnTo>
                      <a:pt x="76" y="234"/>
                    </a:lnTo>
                    <a:lnTo>
                      <a:pt x="64" y="245"/>
                    </a:lnTo>
                    <a:lnTo>
                      <a:pt x="64" y="220"/>
                    </a:lnTo>
                    <a:lnTo>
                      <a:pt x="31" y="191"/>
                    </a:lnTo>
                    <a:lnTo>
                      <a:pt x="43" y="165"/>
                    </a:lnTo>
                    <a:lnTo>
                      <a:pt x="43" y="155"/>
                    </a:lnTo>
                    <a:lnTo>
                      <a:pt x="9" y="129"/>
                    </a:lnTo>
                    <a:lnTo>
                      <a:pt x="0" y="115"/>
                    </a:lnTo>
                    <a:lnTo>
                      <a:pt x="9" y="115"/>
                    </a:lnTo>
                    <a:lnTo>
                      <a:pt x="21" y="100"/>
                    </a:lnTo>
                    <a:lnTo>
                      <a:pt x="0" y="7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8" name="Freeform 251">
                <a:extLst>
                  <a:ext uri="{FF2B5EF4-FFF2-40B4-BE49-F238E27FC236}">
                    <a16:creationId xmlns:a16="http://schemas.microsoft.com/office/drawing/2014/main" id="{ABDDABC8-59EE-4381-9683-56FBA6031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9662" y="2564994"/>
                <a:ext cx="1377666" cy="795021"/>
              </a:xfrm>
              <a:custGeom>
                <a:avLst/>
                <a:gdLst/>
                <a:ahLst/>
                <a:cxnLst>
                  <a:cxn ang="0">
                    <a:pos x="362" y="568"/>
                  </a:cxn>
                  <a:cxn ang="0">
                    <a:pos x="309" y="481"/>
                  </a:cxn>
                  <a:cxn ang="0">
                    <a:pos x="272" y="493"/>
                  </a:cxn>
                  <a:cxn ang="0">
                    <a:pos x="254" y="467"/>
                  </a:cxn>
                  <a:cxn ang="0">
                    <a:pos x="241" y="428"/>
                  </a:cxn>
                  <a:cxn ang="0">
                    <a:pos x="98" y="402"/>
                  </a:cxn>
                  <a:cxn ang="0">
                    <a:pos x="55" y="391"/>
                  </a:cxn>
                  <a:cxn ang="0">
                    <a:pos x="42" y="366"/>
                  </a:cxn>
                  <a:cxn ang="0">
                    <a:pos x="21" y="337"/>
                  </a:cxn>
                  <a:cxn ang="0">
                    <a:pos x="9" y="289"/>
                  </a:cxn>
                  <a:cxn ang="0">
                    <a:pos x="9" y="261"/>
                  </a:cxn>
                  <a:cxn ang="0">
                    <a:pos x="9" y="235"/>
                  </a:cxn>
                  <a:cxn ang="0">
                    <a:pos x="21" y="184"/>
                  </a:cxn>
                  <a:cxn ang="0">
                    <a:pos x="86" y="79"/>
                  </a:cxn>
                  <a:cxn ang="0">
                    <a:pos x="110" y="18"/>
                  </a:cxn>
                  <a:cxn ang="0">
                    <a:pos x="119" y="43"/>
                  </a:cxn>
                  <a:cxn ang="0">
                    <a:pos x="141" y="18"/>
                  </a:cxn>
                  <a:cxn ang="0">
                    <a:pos x="579" y="0"/>
                  </a:cxn>
                  <a:cxn ang="0">
                    <a:pos x="604" y="18"/>
                  </a:cxn>
                  <a:cxn ang="0">
                    <a:pos x="659" y="28"/>
                  </a:cxn>
                  <a:cxn ang="0">
                    <a:pos x="634" y="54"/>
                  </a:cxn>
                  <a:cxn ang="0">
                    <a:pos x="692" y="43"/>
                  </a:cxn>
                  <a:cxn ang="0">
                    <a:pos x="692" y="54"/>
                  </a:cxn>
                  <a:cxn ang="0">
                    <a:pos x="735" y="69"/>
                  </a:cxn>
                  <a:cxn ang="0">
                    <a:pos x="735" y="69"/>
                  </a:cxn>
                  <a:cxn ang="0">
                    <a:pos x="692" y="79"/>
                  </a:cxn>
                  <a:cxn ang="0">
                    <a:pos x="680" y="109"/>
                  </a:cxn>
                  <a:cxn ang="0">
                    <a:pos x="634" y="170"/>
                  </a:cxn>
                  <a:cxn ang="0">
                    <a:pos x="646" y="184"/>
                  </a:cxn>
                  <a:cxn ang="0">
                    <a:pos x="680" y="134"/>
                  </a:cxn>
                  <a:cxn ang="0">
                    <a:pos x="726" y="90"/>
                  </a:cxn>
                  <a:cxn ang="0">
                    <a:pos x="735" y="119"/>
                  </a:cxn>
                  <a:cxn ang="0">
                    <a:pos x="735" y="134"/>
                  </a:cxn>
                  <a:cxn ang="0">
                    <a:pos x="714" y="184"/>
                  </a:cxn>
                  <a:cxn ang="0">
                    <a:pos x="803" y="155"/>
                  </a:cxn>
                  <a:cxn ang="0">
                    <a:pos x="845" y="145"/>
                  </a:cxn>
                  <a:cxn ang="0">
                    <a:pos x="880" y="109"/>
                  </a:cxn>
                  <a:cxn ang="0">
                    <a:pos x="955" y="90"/>
                  </a:cxn>
                  <a:cxn ang="0">
                    <a:pos x="1012" y="54"/>
                  </a:cxn>
                  <a:cxn ang="0">
                    <a:pos x="1012" y="90"/>
                  </a:cxn>
                  <a:cxn ang="0">
                    <a:pos x="977" y="119"/>
                  </a:cxn>
                  <a:cxn ang="0">
                    <a:pos x="922" y="170"/>
                  </a:cxn>
                  <a:cxn ang="0">
                    <a:pos x="935" y="170"/>
                  </a:cxn>
                  <a:cxn ang="0">
                    <a:pos x="910" y="184"/>
                  </a:cxn>
                  <a:cxn ang="0">
                    <a:pos x="858" y="210"/>
                  </a:cxn>
                  <a:cxn ang="0">
                    <a:pos x="833" y="246"/>
                  </a:cxn>
                  <a:cxn ang="0">
                    <a:pos x="824" y="261"/>
                  </a:cxn>
                  <a:cxn ang="0">
                    <a:pos x="812" y="261"/>
                  </a:cxn>
                  <a:cxn ang="0">
                    <a:pos x="803" y="275"/>
                  </a:cxn>
                  <a:cxn ang="0">
                    <a:pos x="803" y="326"/>
                  </a:cxn>
                  <a:cxn ang="0">
                    <a:pos x="692" y="402"/>
                  </a:cxn>
                  <a:cxn ang="0">
                    <a:pos x="671" y="546"/>
                  </a:cxn>
                  <a:cxn ang="0">
                    <a:pos x="659" y="584"/>
                  </a:cxn>
                  <a:cxn ang="0">
                    <a:pos x="634" y="546"/>
                  </a:cxn>
                  <a:cxn ang="0">
                    <a:pos x="624" y="467"/>
                  </a:cxn>
                  <a:cxn ang="0">
                    <a:pos x="594" y="467"/>
                  </a:cxn>
                  <a:cxn ang="0">
                    <a:pos x="549" y="457"/>
                  </a:cxn>
                  <a:cxn ang="0">
                    <a:pos x="517" y="481"/>
                  </a:cxn>
                  <a:cxn ang="0">
                    <a:pos x="502" y="493"/>
                  </a:cxn>
                  <a:cxn ang="0">
                    <a:pos x="484" y="467"/>
                  </a:cxn>
                  <a:cxn ang="0">
                    <a:pos x="438" y="481"/>
                  </a:cxn>
                  <a:cxn ang="0">
                    <a:pos x="370" y="517"/>
                  </a:cxn>
                </a:cxnLst>
                <a:rect l="0" t="0" r="r" b="b"/>
                <a:pathLst>
                  <a:path w="1012" h="584">
                    <a:moveTo>
                      <a:pt x="370" y="517"/>
                    </a:moveTo>
                    <a:lnTo>
                      <a:pt x="362" y="568"/>
                    </a:lnTo>
                    <a:lnTo>
                      <a:pt x="331" y="558"/>
                    </a:lnTo>
                    <a:lnTo>
                      <a:pt x="309" y="481"/>
                    </a:lnTo>
                    <a:lnTo>
                      <a:pt x="285" y="467"/>
                    </a:lnTo>
                    <a:lnTo>
                      <a:pt x="272" y="493"/>
                    </a:lnTo>
                    <a:lnTo>
                      <a:pt x="263" y="493"/>
                    </a:lnTo>
                    <a:lnTo>
                      <a:pt x="254" y="467"/>
                    </a:lnTo>
                    <a:lnTo>
                      <a:pt x="254" y="457"/>
                    </a:lnTo>
                    <a:lnTo>
                      <a:pt x="241" y="428"/>
                    </a:lnTo>
                    <a:lnTo>
                      <a:pt x="153" y="445"/>
                    </a:lnTo>
                    <a:lnTo>
                      <a:pt x="98" y="402"/>
                    </a:lnTo>
                    <a:lnTo>
                      <a:pt x="55" y="402"/>
                    </a:lnTo>
                    <a:lnTo>
                      <a:pt x="55" y="391"/>
                    </a:lnTo>
                    <a:lnTo>
                      <a:pt x="42" y="376"/>
                    </a:lnTo>
                    <a:lnTo>
                      <a:pt x="42" y="366"/>
                    </a:lnTo>
                    <a:lnTo>
                      <a:pt x="9" y="354"/>
                    </a:lnTo>
                    <a:lnTo>
                      <a:pt x="21" y="337"/>
                    </a:lnTo>
                    <a:lnTo>
                      <a:pt x="9" y="311"/>
                    </a:lnTo>
                    <a:lnTo>
                      <a:pt x="9" y="289"/>
                    </a:lnTo>
                    <a:lnTo>
                      <a:pt x="0" y="275"/>
                    </a:lnTo>
                    <a:lnTo>
                      <a:pt x="9" y="261"/>
                    </a:lnTo>
                    <a:lnTo>
                      <a:pt x="0" y="246"/>
                    </a:lnTo>
                    <a:lnTo>
                      <a:pt x="9" y="235"/>
                    </a:lnTo>
                    <a:lnTo>
                      <a:pt x="9" y="224"/>
                    </a:lnTo>
                    <a:lnTo>
                      <a:pt x="21" y="184"/>
                    </a:lnTo>
                    <a:lnTo>
                      <a:pt x="31" y="155"/>
                    </a:lnTo>
                    <a:lnTo>
                      <a:pt x="86" y="79"/>
                    </a:lnTo>
                    <a:lnTo>
                      <a:pt x="98" y="28"/>
                    </a:lnTo>
                    <a:lnTo>
                      <a:pt x="110" y="18"/>
                    </a:lnTo>
                    <a:lnTo>
                      <a:pt x="131" y="28"/>
                    </a:lnTo>
                    <a:lnTo>
                      <a:pt x="119" y="43"/>
                    </a:lnTo>
                    <a:lnTo>
                      <a:pt x="131" y="43"/>
                    </a:lnTo>
                    <a:lnTo>
                      <a:pt x="141" y="18"/>
                    </a:lnTo>
                    <a:lnTo>
                      <a:pt x="141" y="0"/>
                    </a:lnTo>
                    <a:lnTo>
                      <a:pt x="579" y="0"/>
                    </a:lnTo>
                    <a:lnTo>
                      <a:pt x="594" y="0"/>
                    </a:lnTo>
                    <a:lnTo>
                      <a:pt x="604" y="18"/>
                    </a:lnTo>
                    <a:lnTo>
                      <a:pt x="671" y="28"/>
                    </a:lnTo>
                    <a:lnTo>
                      <a:pt x="659" y="28"/>
                    </a:lnTo>
                    <a:lnTo>
                      <a:pt x="616" y="69"/>
                    </a:lnTo>
                    <a:lnTo>
                      <a:pt x="634" y="54"/>
                    </a:lnTo>
                    <a:lnTo>
                      <a:pt x="634" y="69"/>
                    </a:lnTo>
                    <a:lnTo>
                      <a:pt x="692" y="43"/>
                    </a:lnTo>
                    <a:lnTo>
                      <a:pt x="671" y="69"/>
                    </a:lnTo>
                    <a:lnTo>
                      <a:pt x="692" y="54"/>
                    </a:lnTo>
                    <a:lnTo>
                      <a:pt x="692" y="69"/>
                    </a:lnTo>
                    <a:lnTo>
                      <a:pt x="735" y="69"/>
                    </a:lnTo>
                    <a:lnTo>
                      <a:pt x="726" y="69"/>
                    </a:lnTo>
                    <a:lnTo>
                      <a:pt x="735" y="69"/>
                    </a:lnTo>
                    <a:lnTo>
                      <a:pt x="735" y="79"/>
                    </a:lnTo>
                    <a:lnTo>
                      <a:pt x="692" y="79"/>
                    </a:lnTo>
                    <a:lnTo>
                      <a:pt x="659" y="119"/>
                    </a:lnTo>
                    <a:lnTo>
                      <a:pt x="680" y="109"/>
                    </a:lnTo>
                    <a:lnTo>
                      <a:pt x="646" y="145"/>
                    </a:lnTo>
                    <a:lnTo>
                      <a:pt x="634" y="170"/>
                    </a:lnTo>
                    <a:lnTo>
                      <a:pt x="634" y="184"/>
                    </a:lnTo>
                    <a:lnTo>
                      <a:pt x="646" y="184"/>
                    </a:lnTo>
                    <a:lnTo>
                      <a:pt x="659" y="170"/>
                    </a:lnTo>
                    <a:lnTo>
                      <a:pt x="680" y="134"/>
                    </a:lnTo>
                    <a:lnTo>
                      <a:pt x="692" y="109"/>
                    </a:lnTo>
                    <a:lnTo>
                      <a:pt x="726" y="90"/>
                    </a:lnTo>
                    <a:lnTo>
                      <a:pt x="735" y="90"/>
                    </a:lnTo>
                    <a:lnTo>
                      <a:pt x="735" y="119"/>
                    </a:lnTo>
                    <a:lnTo>
                      <a:pt x="726" y="134"/>
                    </a:lnTo>
                    <a:lnTo>
                      <a:pt x="735" y="134"/>
                    </a:lnTo>
                    <a:lnTo>
                      <a:pt x="735" y="145"/>
                    </a:lnTo>
                    <a:lnTo>
                      <a:pt x="714" y="184"/>
                    </a:lnTo>
                    <a:lnTo>
                      <a:pt x="735" y="184"/>
                    </a:lnTo>
                    <a:lnTo>
                      <a:pt x="803" y="155"/>
                    </a:lnTo>
                    <a:lnTo>
                      <a:pt x="794" y="145"/>
                    </a:lnTo>
                    <a:lnTo>
                      <a:pt x="845" y="145"/>
                    </a:lnTo>
                    <a:lnTo>
                      <a:pt x="858" y="119"/>
                    </a:lnTo>
                    <a:lnTo>
                      <a:pt x="880" y="109"/>
                    </a:lnTo>
                    <a:lnTo>
                      <a:pt x="935" y="109"/>
                    </a:lnTo>
                    <a:lnTo>
                      <a:pt x="955" y="90"/>
                    </a:lnTo>
                    <a:lnTo>
                      <a:pt x="987" y="43"/>
                    </a:lnTo>
                    <a:lnTo>
                      <a:pt x="1012" y="54"/>
                    </a:lnTo>
                    <a:lnTo>
                      <a:pt x="1002" y="90"/>
                    </a:lnTo>
                    <a:lnTo>
                      <a:pt x="1012" y="90"/>
                    </a:lnTo>
                    <a:lnTo>
                      <a:pt x="1002" y="119"/>
                    </a:lnTo>
                    <a:lnTo>
                      <a:pt x="977" y="119"/>
                    </a:lnTo>
                    <a:lnTo>
                      <a:pt x="944" y="134"/>
                    </a:lnTo>
                    <a:lnTo>
                      <a:pt x="922" y="170"/>
                    </a:lnTo>
                    <a:lnTo>
                      <a:pt x="922" y="184"/>
                    </a:lnTo>
                    <a:lnTo>
                      <a:pt x="935" y="170"/>
                    </a:lnTo>
                    <a:lnTo>
                      <a:pt x="935" y="184"/>
                    </a:lnTo>
                    <a:lnTo>
                      <a:pt x="910" y="184"/>
                    </a:lnTo>
                    <a:lnTo>
                      <a:pt x="910" y="199"/>
                    </a:lnTo>
                    <a:lnTo>
                      <a:pt x="858" y="210"/>
                    </a:lnTo>
                    <a:lnTo>
                      <a:pt x="845" y="235"/>
                    </a:lnTo>
                    <a:lnTo>
                      <a:pt x="833" y="246"/>
                    </a:lnTo>
                    <a:lnTo>
                      <a:pt x="824" y="235"/>
                    </a:lnTo>
                    <a:lnTo>
                      <a:pt x="824" y="261"/>
                    </a:lnTo>
                    <a:lnTo>
                      <a:pt x="812" y="275"/>
                    </a:lnTo>
                    <a:lnTo>
                      <a:pt x="812" y="261"/>
                    </a:lnTo>
                    <a:lnTo>
                      <a:pt x="803" y="261"/>
                    </a:lnTo>
                    <a:lnTo>
                      <a:pt x="803" y="275"/>
                    </a:lnTo>
                    <a:lnTo>
                      <a:pt x="794" y="301"/>
                    </a:lnTo>
                    <a:lnTo>
                      <a:pt x="803" y="326"/>
                    </a:lnTo>
                    <a:lnTo>
                      <a:pt x="794" y="337"/>
                    </a:lnTo>
                    <a:lnTo>
                      <a:pt x="692" y="402"/>
                    </a:lnTo>
                    <a:lnTo>
                      <a:pt x="671" y="445"/>
                    </a:lnTo>
                    <a:lnTo>
                      <a:pt x="671" y="546"/>
                    </a:lnTo>
                    <a:lnTo>
                      <a:pt x="671" y="568"/>
                    </a:lnTo>
                    <a:lnTo>
                      <a:pt x="659" y="584"/>
                    </a:lnTo>
                    <a:lnTo>
                      <a:pt x="646" y="584"/>
                    </a:lnTo>
                    <a:lnTo>
                      <a:pt x="634" y="546"/>
                    </a:lnTo>
                    <a:lnTo>
                      <a:pt x="634" y="493"/>
                    </a:lnTo>
                    <a:lnTo>
                      <a:pt x="624" y="467"/>
                    </a:lnTo>
                    <a:lnTo>
                      <a:pt x="594" y="481"/>
                    </a:lnTo>
                    <a:lnTo>
                      <a:pt x="594" y="467"/>
                    </a:lnTo>
                    <a:lnTo>
                      <a:pt x="579" y="457"/>
                    </a:lnTo>
                    <a:lnTo>
                      <a:pt x="549" y="457"/>
                    </a:lnTo>
                    <a:lnTo>
                      <a:pt x="527" y="467"/>
                    </a:lnTo>
                    <a:lnTo>
                      <a:pt x="517" y="481"/>
                    </a:lnTo>
                    <a:lnTo>
                      <a:pt x="527" y="493"/>
                    </a:lnTo>
                    <a:lnTo>
                      <a:pt x="502" y="493"/>
                    </a:lnTo>
                    <a:lnTo>
                      <a:pt x="484" y="493"/>
                    </a:lnTo>
                    <a:lnTo>
                      <a:pt x="484" y="467"/>
                    </a:lnTo>
                    <a:lnTo>
                      <a:pt x="472" y="481"/>
                    </a:lnTo>
                    <a:lnTo>
                      <a:pt x="438" y="481"/>
                    </a:lnTo>
                    <a:lnTo>
                      <a:pt x="426" y="481"/>
                    </a:lnTo>
                    <a:lnTo>
                      <a:pt x="370" y="51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9" name="Freeform 253">
                <a:extLst>
                  <a:ext uri="{FF2B5EF4-FFF2-40B4-BE49-F238E27FC236}">
                    <a16:creationId xmlns:a16="http://schemas.microsoft.com/office/drawing/2014/main" id="{5354A2FA-4250-4141-A7FF-7D3C63D70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8698" y="3606417"/>
                <a:ext cx="103461" cy="142941"/>
              </a:xfrm>
              <a:custGeom>
                <a:avLst/>
                <a:gdLst/>
                <a:ahLst/>
                <a:cxnLst>
                  <a:cxn ang="0">
                    <a:pos x="45" y="76"/>
                  </a:cxn>
                  <a:cxn ang="0">
                    <a:pos x="76" y="50"/>
                  </a:cxn>
                  <a:cxn ang="0">
                    <a:pos x="66" y="50"/>
                  </a:cxn>
                  <a:cxn ang="0">
                    <a:pos x="54" y="40"/>
                  </a:cxn>
                  <a:cxn ang="0">
                    <a:pos x="66" y="0"/>
                  </a:cxn>
                  <a:cxn ang="0">
                    <a:pos x="32" y="0"/>
                  </a:cxn>
                  <a:cxn ang="0">
                    <a:pos x="20" y="14"/>
                  </a:cxn>
                  <a:cxn ang="0">
                    <a:pos x="32" y="40"/>
                  </a:cxn>
                  <a:cxn ang="0">
                    <a:pos x="20" y="40"/>
                  </a:cxn>
                  <a:cxn ang="0">
                    <a:pos x="0" y="76"/>
                  </a:cxn>
                  <a:cxn ang="0">
                    <a:pos x="0" y="90"/>
                  </a:cxn>
                  <a:cxn ang="0">
                    <a:pos x="32" y="105"/>
                  </a:cxn>
                  <a:cxn ang="0">
                    <a:pos x="45" y="76"/>
                  </a:cxn>
                </a:cxnLst>
                <a:rect l="0" t="0" r="r" b="b"/>
                <a:pathLst>
                  <a:path w="76" h="105">
                    <a:moveTo>
                      <a:pt x="45" y="76"/>
                    </a:moveTo>
                    <a:lnTo>
                      <a:pt x="76" y="50"/>
                    </a:lnTo>
                    <a:lnTo>
                      <a:pt x="66" y="50"/>
                    </a:lnTo>
                    <a:lnTo>
                      <a:pt x="54" y="40"/>
                    </a:lnTo>
                    <a:lnTo>
                      <a:pt x="66" y="0"/>
                    </a:lnTo>
                    <a:lnTo>
                      <a:pt x="32" y="0"/>
                    </a:lnTo>
                    <a:lnTo>
                      <a:pt x="20" y="14"/>
                    </a:lnTo>
                    <a:lnTo>
                      <a:pt x="32" y="40"/>
                    </a:lnTo>
                    <a:lnTo>
                      <a:pt x="20" y="40"/>
                    </a:lnTo>
                    <a:lnTo>
                      <a:pt x="0" y="76"/>
                    </a:lnTo>
                    <a:lnTo>
                      <a:pt x="0" y="90"/>
                    </a:lnTo>
                    <a:lnTo>
                      <a:pt x="32" y="105"/>
                    </a:lnTo>
                    <a:lnTo>
                      <a:pt x="45" y="7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0" name="Freeform 255">
                <a:extLst>
                  <a:ext uri="{FF2B5EF4-FFF2-40B4-BE49-F238E27FC236}">
                    <a16:creationId xmlns:a16="http://schemas.microsoft.com/office/drawing/2014/main" id="{28FB2D30-F958-44D0-A2E6-958D2E7C9B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2261" y="3709878"/>
                <a:ext cx="59898" cy="55815"/>
              </a:xfrm>
              <a:custGeom>
                <a:avLst/>
                <a:gdLst/>
                <a:ahLst/>
                <a:cxnLst>
                  <a:cxn ang="0">
                    <a:pos x="44" y="29"/>
                  </a:cxn>
                  <a:cxn ang="0">
                    <a:pos x="44" y="41"/>
                  </a:cxn>
                  <a:cxn ang="0">
                    <a:pos x="12" y="29"/>
                  </a:cxn>
                  <a:cxn ang="0">
                    <a:pos x="0" y="29"/>
                  </a:cxn>
                  <a:cxn ang="0">
                    <a:pos x="12" y="0"/>
                  </a:cxn>
                  <a:cxn ang="0">
                    <a:pos x="44" y="29"/>
                  </a:cxn>
                </a:cxnLst>
                <a:rect l="0" t="0" r="r" b="b"/>
                <a:pathLst>
                  <a:path w="44" h="41">
                    <a:moveTo>
                      <a:pt x="44" y="29"/>
                    </a:moveTo>
                    <a:lnTo>
                      <a:pt x="44" y="41"/>
                    </a:lnTo>
                    <a:lnTo>
                      <a:pt x="12" y="29"/>
                    </a:lnTo>
                    <a:lnTo>
                      <a:pt x="0" y="29"/>
                    </a:lnTo>
                    <a:lnTo>
                      <a:pt x="12" y="0"/>
                    </a:lnTo>
                    <a:lnTo>
                      <a:pt x="44" y="2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1" name="Freeform 257">
                <a:extLst>
                  <a:ext uri="{FF2B5EF4-FFF2-40B4-BE49-F238E27FC236}">
                    <a16:creationId xmlns:a16="http://schemas.microsoft.com/office/drawing/2014/main" id="{4DBFA11F-76E6-462F-903B-47921C6FD0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1384" y="3888214"/>
                <a:ext cx="62621" cy="69428"/>
              </a:xfrm>
              <a:custGeom>
                <a:avLst/>
                <a:gdLst/>
                <a:ahLst/>
                <a:cxnLst>
                  <a:cxn ang="0">
                    <a:pos x="46" y="25"/>
                  </a:cxn>
                  <a:cxn ang="0">
                    <a:pos x="46" y="39"/>
                  </a:cxn>
                  <a:cxn ang="0">
                    <a:pos x="36" y="51"/>
                  </a:cxn>
                  <a:cxn ang="0">
                    <a:pos x="24" y="39"/>
                  </a:cxn>
                  <a:cxn ang="0">
                    <a:pos x="24" y="25"/>
                  </a:cxn>
                  <a:cxn ang="0">
                    <a:pos x="0" y="14"/>
                  </a:cxn>
                  <a:cxn ang="0">
                    <a:pos x="0" y="0"/>
                  </a:cxn>
                  <a:cxn ang="0">
                    <a:pos x="12" y="0"/>
                  </a:cxn>
                  <a:cxn ang="0">
                    <a:pos x="24" y="0"/>
                  </a:cxn>
                  <a:cxn ang="0">
                    <a:pos x="46" y="25"/>
                  </a:cxn>
                </a:cxnLst>
                <a:rect l="0" t="0" r="r" b="b"/>
                <a:pathLst>
                  <a:path w="46" h="51">
                    <a:moveTo>
                      <a:pt x="46" y="25"/>
                    </a:moveTo>
                    <a:lnTo>
                      <a:pt x="46" y="39"/>
                    </a:lnTo>
                    <a:lnTo>
                      <a:pt x="36" y="51"/>
                    </a:lnTo>
                    <a:lnTo>
                      <a:pt x="24" y="39"/>
                    </a:lnTo>
                    <a:lnTo>
                      <a:pt x="24" y="25"/>
                    </a:lnTo>
                    <a:lnTo>
                      <a:pt x="0" y="14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24" y="0"/>
                    </a:lnTo>
                    <a:lnTo>
                      <a:pt x="46" y="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2" name="Freeform 259">
                <a:extLst>
                  <a:ext uri="{FF2B5EF4-FFF2-40B4-BE49-F238E27FC236}">
                    <a16:creationId xmlns:a16="http://schemas.microsoft.com/office/drawing/2014/main" id="{C3F8455F-E05C-42E7-9F40-CB329D876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4259" y="3888214"/>
                <a:ext cx="87125" cy="6942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25"/>
                  </a:cxn>
                  <a:cxn ang="0">
                    <a:pos x="34" y="39"/>
                  </a:cxn>
                  <a:cxn ang="0">
                    <a:pos x="46" y="51"/>
                  </a:cxn>
                  <a:cxn ang="0">
                    <a:pos x="54" y="51"/>
                  </a:cxn>
                  <a:cxn ang="0">
                    <a:pos x="46" y="25"/>
                  </a:cxn>
                  <a:cxn ang="0">
                    <a:pos x="64" y="14"/>
                  </a:cxn>
                  <a:cxn ang="0">
                    <a:pos x="54" y="0"/>
                  </a:cxn>
                  <a:cxn ang="0">
                    <a:pos x="34" y="14"/>
                  </a:cxn>
                  <a:cxn ang="0">
                    <a:pos x="24" y="14"/>
                  </a:cxn>
                  <a:cxn ang="0">
                    <a:pos x="9" y="0"/>
                  </a:cxn>
                </a:cxnLst>
                <a:rect l="0" t="0" r="r" b="b"/>
                <a:pathLst>
                  <a:path w="64" h="51">
                    <a:moveTo>
                      <a:pt x="9" y="0"/>
                    </a:moveTo>
                    <a:lnTo>
                      <a:pt x="0" y="25"/>
                    </a:lnTo>
                    <a:lnTo>
                      <a:pt x="34" y="39"/>
                    </a:lnTo>
                    <a:lnTo>
                      <a:pt x="46" y="51"/>
                    </a:lnTo>
                    <a:lnTo>
                      <a:pt x="54" y="51"/>
                    </a:lnTo>
                    <a:lnTo>
                      <a:pt x="46" y="25"/>
                    </a:lnTo>
                    <a:lnTo>
                      <a:pt x="64" y="14"/>
                    </a:lnTo>
                    <a:lnTo>
                      <a:pt x="54" y="0"/>
                    </a:lnTo>
                    <a:lnTo>
                      <a:pt x="34" y="14"/>
                    </a:lnTo>
                    <a:lnTo>
                      <a:pt x="24" y="14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3" name="Freeform 261">
                <a:extLst>
                  <a:ext uri="{FF2B5EF4-FFF2-40B4-BE49-F238E27FC236}">
                    <a16:creationId xmlns:a16="http://schemas.microsoft.com/office/drawing/2014/main" id="{41C81E31-AA8F-429E-BF3D-CE95DF458C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7083" y="3835122"/>
                <a:ext cx="70789" cy="87126"/>
              </a:xfrm>
              <a:custGeom>
                <a:avLst/>
                <a:gdLst/>
                <a:ahLst/>
                <a:cxnLst>
                  <a:cxn ang="0">
                    <a:pos x="52" y="38"/>
                  </a:cxn>
                  <a:cxn ang="0">
                    <a:pos x="42" y="64"/>
                  </a:cxn>
                  <a:cxn ang="0">
                    <a:pos x="33" y="64"/>
                  </a:cxn>
                  <a:cxn ang="0">
                    <a:pos x="33" y="52"/>
                  </a:cxn>
                  <a:cxn ang="0">
                    <a:pos x="12" y="28"/>
                  </a:cxn>
                  <a:cxn ang="0">
                    <a:pos x="12" y="38"/>
                  </a:cxn>
                  <a:cxn ang="0">
                    <a:pos x="0" y="28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42" y="28"/>
                  </a:cxn>
                  <a:cxn ang="0">
                    <a:pos x="52" y="38"/>
                  </a:cxn>
                </a:cxnLst>
                <a:rect l="0" t="0" r="r" b="b"/>
                <a:pathLst>
                  <a:path w="52" h="64">
                    <a:moveTo>
                      <a:pt x="52" y="38"/>
                    </a:moveTo>
                    <a:lnTo>
                      <a:pt x="42" y="64"/>
                    </a:lnTo>
                    <a:lnTo>
                      <a:pt x="33" y="64"/>
                    </a:lnTo>
                    <a:lnTo>
                      <a:pt x="33" y="52"/>
                    </a:lnTo>
                    <a:lnTo>
                      <a:pt x="12" y="28"/>
                    </a:lnTo>
                    <a:lnTo>
                      <a:pt x="12" y="38"/>
                    </a:lnTo>
                    <a:lnTo>
                      <a:pt x="0" y="28"/>
                    </a:lnTo>
                    <a:lnTo>
                      <a:pt x="0" y="0"/>
                    </a:lnTo>
                    <a:lnTo>
                      <a:pt x="33" y="0"/>
                    </a:lnTo>
                    <a:lnTo>
                      <a:pt x="42" y="2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4" name="Freeform 263">
                <a:extLst>
                  <a:ext uri="{FF2B5EF4-FFF2-40B4-BE49-F238E27FC236}">
                    <a16:creationId xmlns:a16="http://schemas.microsoft.com/office/drawing/2014/main" id="{B9289DEC-A6EA-47C3-A4BD-2E61BD384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3051" y="3694903"/>
                <a:ext cx="104823" cy="138856"/>
              </a:xfrm>
              <a:custGeom>
                <a:avLst/>
                <a:gdLst/>
                <a:ahLst/>
                <a:cxnLst>
                  <a:cxn ang="0">
                    <a:pos x="58" y="102"/>
                  </a:cxn>
                  <a:cxn ang="0">
                    <a:pos x="24" y="102"/>
                  </a:cxn>
                  <a:cxn ang="0">
                    <a:pos x="0" y="64"/>
                  </a:cxn>
                  <a:cxn ang="0">
                    <a:pos x="0" y="50"/>
                  </a:cxn>
                  <a:cxn ang="0">
                    <a:pos x="46" y="11"/>
                  </a:cxn>
                  <a:cxn ang="0">
                    <a:pos x="77" y="0"/>
                  </a:cxn>
                  <a:cxn ang="0">
                    <a:pos x="77" y="25"/>
                  </a:cxn>
                  <a:cxn ang="0">
                    <a:pos x="58" y="102"/>
                  </a:cxn>
                </a:cxnLst>
                <a:rect l="0" t="0" r="r" b="b"/>
                <a:pathLst>
                  <a:path w="77" h="102">
                    <a:moveTo>
                      <a:pt x="58" y="102"/>
                    </a:moveTo>
                    <a:lnTo>
                      <a:pt x="24" y="102"/>
                    </a:lnTo>
                    <a:lnTo>
                      <a:pt x="0" y="64"/>
                    </a:lnTo>
                    <a:lnTo>
                      <a:pt x="0" y="50"/>
                    </a:lnTo>
                    <a:lnTo>
                      <a:pt x="46" y="11"/>
                    </a:lnTo>
                    <a:lnTo>
                      <a:pt x="77" y="0"/>
                    </a:lnTo>
                    <a:lnTo>
                      <a:pt x="77" y="25"/>
                    </a:lnTo>
                    <a:lnTo>
                      <a:pt x="58" y="1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5" name="Freeform 265">
                <a:extLst>
                  <a:ext uri="{FF2B5EF4-FFF2-40B4-BE49-F238E27FC236}">
                    <a16:creationId xmlns:a16="http://schemas.microsoft.com/office/drawing/2014/main" id="{17C79D09-619D-459F-B426-2774BE31B6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9958" y="3674484"/>
                <a:ext cx="157914" cy="88487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0" y="25"/>
                  </a:cxn>
                  <a:cxn ang="0">
                    <a:pos x="31" y="54"/>
                  </a:cxn>
                  <a:cxn ang="0">
                    <a:pos x="39" y="65"/>
                  </a:cxn>
                  <a:cxn ang="0">
                    <a:pos x="85" y="25"/>
                  </a:cxn>
                  <a:cxn ang="0">
                    <a:pos x="116" y="14"/>
                  </a:cxn>
                  <a:cxn ang="0">
                    <a:pos x="85" y="0"/>
                  </a:cxn>
                  <a:cxn ang="0">
                    <a:pos x="31" y="0"/>
                  </a:cxn>
                </a:cxnLst>
                <a:rect l="0" t="0" r="r" b="b"/>
                <a:pathLst>
                  <a:path w="116" h="65">
                    <a:moveTo>
                      <a:pt x="31" y="0"/>
                    </a:moveTo>
                    <a:lnTo>
                      <a:pt x="0" y="25"/>
                    </a:lnTo>
                    <a:lnTo>
                      <a:pt x="31" y="54"/>
                    </a:lnTo>
                    <a:lnTo>
                      <a:pt x="39" y="65"/>
                    </a:lnTo>
                    <a:lnTo>
                      <a:pt x="85" y="25"/>
                    </a:lnTo>
                    <a:lnTo>
                      <a:pt x="116" y="14"/>
                    </a:lnTo>
                    <a:lnTo>
                      <a:pt x="85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6" name="Freeform 267">
                <a:extLst>
                  <a:ext uri="{FF2B5EF4-FFF2-40B4-BE49-F238E27FC236}">
                    <a16:creationId xmlns:a16="http://schemas.microsoft.com/office/drawing/2014/main" id="{1B1488BB-04D3-480E-B8AB-56AD0E8DC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558" y="3538350"/>
                <a:ext cx="87125" cy="87126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49"/>
                  </a:cxn>
                  <a:cxn ang="0">
                    <a:pos x="9" y="64"/>
                  </a:cxn>
                  <a:cxn ang="0">
                    <a:pos x="18" y="35"/>
                  </a:cxn>
                  <a:cxn ang="0">
                    <a:pos x="29" y="35"/>
                  </a:cxn>
                  <a:cxn ang="0">
                    <a:pos x="18" y="35"/>
                  </a:cxn>
                  <a:cxn ang="0">
                    <a:pos x="51" y="35"/>
                  </a:cxn>
                  <a:cxn ang="0">
                    <a:pos x="64" y="49"/>
                  </a:cxn>
                  <a:cxn ang="0">
                    <a:pos x="64" y="35"/>
                  </a:cxn>
                  <a:cxn ang="0">
                    <a:pos x="64" y="25"/>
                  </a:cxn>
                  <a:cxn ang="0">
                    <a:pos x="39" y="25"/>
                  </a:cxn>
                  <a:cxn ang="0">
                    <a:pos x="51" y="11"/>
                  </a:cxn>
                  <a:cxn ang="0">
                    <a:pos x="39" y="11"/>
                  </a:cxn>
                  <a:cxn ang="0">
                    <a:pos x="9" y="0"/>
                  </a:cxn>
                </a:cxnLst>
                <a:rect l="0" t="0" r="r" b="b"/>
                <a:pathLst>
                  <a:path w="64" h="64">
                    <a:moveTo>
                      <a:pt x="9" y="0"/>
                    </a:moveTo>
                    <a:lnTo>
                      <a:pt x="0" y="49"/>
                    </a:lnTo>
                    <a:lnTo>
                      <a:pt x="9" y="64"/>
                    </a:lnTo>
                    <a:lnTo>
                      <a:pt x="18" y="35"/>
                    </a:lnTo>
                    <a:lnTo>
                      <a:pt x="29" y="35"/>
                    </a:lnTo>
                    <a:lnTo>
                      <a:pt x="18" y="35"/>
                    </a:lnTo>
                    <a:lnTo>
                      <a:pt x="51" y="35"/>
                    </a:lnTo>
                    <a:lnTo>
                      <a:pt x="64" y="49"/>
                    </a:lnTo>
                    <a:lnTo>
                      <a:pt x="64" y="35"/>
                    </a:lnTo>
                    <a:lnTo>
                      <a:pt x="64" y="25"/>
                    </a:lnTo>
                    <a:lnTo>
                      <a:pt x="39" y="25"/>
                    </a:lnTo>
                    <a:lnTo>
                      <a:pt x="51" y="11"/>
                    </a:lnTo>
                    <a:lnTo>
                      <a:pt x="39" y="1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7" name="Freeform 269">
                <a:extLst>
                  <a:ext uri="{FF2B5EF4-FFF2-40B4-BE49-F238E27FC236}">
                    <a16:creationId xmlns:a16="http://schemas.microsoft.com/office/drawing/2014/main" id="{3808CB2A-9609-4C5A-9948-AE75B0DDD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7937" y="3538350"/>
                <a:ext cx="74874" cy="68067"/>
              </a:xfrm>
              <a:custGeom>
                <a:avLst/>
                <a:gdLst/>
                <a:ahLst/>
                <a:cxnLst>
                  <a:cxn ang="0">
                    <a:pos x="55" y="0"/>
                  </a:cxn>
                  <a:cxn ang="0">
                    <a:pos x="45" y="50"/>
                  </a:cxn>
                  <a:cxn ang="0">
                    <a:pos x="8" y="50"/>
                  </a:cxn>
                  <a:cxn ang="0">
                    <a:pos x="0" y="35"/>
                  </a:cxn>
                  <a:cxn ang="0">
                    <a:pos x="8" y="35"/>
                  </a:cxn>
                  <a:cxn ang="0">
                    <a:pos x="20" y="35"/>
                  </a:cxn>
                  <a:cxn ang="0">
                    <a:pos x="45" y="35"/>
                  </a:cxn>
                  <a:cxn ang="0">
                    <a:pos x="30" y="11"/>
                  </a:cxn>
                  <a:cxn ang="0">
                    <a:pos x="20" y="11"/>
                  </a:cxn>
                  <a:cxn ang="0">
                    <a:pos x="30" y="0"/>
                  </a:cxn>
                  <a:cxn ang="0">
                    <a:pos x="55" y="0"/>
                  </a:cxn>
                </a:cxnLst>
                <a:rect l="0" t="0" r="r" b="b"/>
                <a:pathLst>
                  <a:path w="55" h="50">
                    <a:moveTo>
                      <a:pt x="55" y="0"/>
                    </a:moveTo>
                    <a:lnTo>
                      <a:pt x="45" y="50"/>
                    </a:lnTo>
                    <a:lnTo>
                      <a:pt x="8" y="50"/>
                    </a:lnTo>
                    <a:lnTo>
                      <a:pt x="0" y="35"/>
                    </a:lnTo>
                    <a:lnTo>
                      <a:pt x="8" y="35"/>
                    </a:lnTo>
                    <a:lnTo>
                      <a:pt x="20" y="35"/>
                    </a:lnTo>
                    <a:lnTo>
                      <a:pt x="45" y="35"/>
                    </a:lnTo>
                    <a:lnTo>
                      <a:pt x="30" y="11"/>
                    </a:lnTo>
                    <a:lnTo>
                      <a:pt x="20" y="11"/>
                    </a:lnTo>
                    <a:lnTo>
                      <a:pt x="30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8" name="Freeform 279">
                <a:extLst>
                  <a:ext uri="{FF2B5EF4-FFF2-40B4-BE49-F238E27FC236}">
                    <a16:creationId xmlns:a16="http://schemas.microsoft.com/office/drawing/2014/main" id="{C563571C-9572-4AD6-BEAD-A9B44D3764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1906" y="4209489"/>
                <a:ext cx="329442" cy="592182"/>
              </a:xfrm>
              <a:custGeom>
                <a:avLst/>
                <a:gdLst/>
                <a:ahLst/>
                <a:cxnLst>
                  <a:cxn ang="0">
                    <a:pos x="12" y="72"/>
                  </a:cxn>
                  <a:cxn ang="0">
                    <a:pos x="12" y="101"/>
                  </a:cxn>
                  <a:cxn ang="0">
                    <a:pos x="30" y="111"/>
                  </a:cxn>
                  <a:cxn ang="0">
                    <a:pos x="55" y="72"/>
                  </a:cxn>
                  <a:cxn ang="0">
                    <a:pos x="88" y="60"/>
                  </a:cxn>
                  <a:cxn ang="0">
                    <a:pos x="97" y="36"/>
                  </a:cxn>
                  <a:cxn ang="0">
                    <a:pos x="110" y="21"/>
                  </a:cxn>
                  <a:cxn ang="0">
                    <a:pos x="97" y="0"/>
                  </a:cxn>
                  <a:cxn ang="0">
                    <a:pos x="110" y="0"/>
                  </a:cxn>
                  <a:cxn ang="0">
                    <a:pos x="131" y="21"/>
                  </a:cxn>
                  <a:cxn ang="0">
                    <a:pos x="144" y="60"/>
                  </a:cxn>
                  <a:cxn ang="0">
                    <a:pos x="190" y="46"/>
                  </a:cxn>
                  <a:cxn ang="0">
                    <a:pos x="199" y="60"/>
                  </a:cxn>
                  <a:cxn ang="0">
                    <a:pos x="199" y="86"/>
                  </a:cxn>
                  <a:cxn ang="0">
                    <a:pos x="208" y="101"/>
                  </a:cxn>
                  <a:cxn ang="0">
                    <a:pos x="165" y="111"/>
                  </a:cxn>
                  <a:cxn ang="0">
                    <a:pos x="152" y="137"/>
                  </a:cxn>
                  <a:cxn ang="0">
                    <a:pos x="144" y="177"/>
                  </a:cxn>
                  <a:cxn ang="0">
                    <a:pos x="152" y="217"/>
                  </a:cxn>
                  <a:cxn ang="0">
                    <a:pos x="174" y="238"/>
                  </a:cxn>
                  <a:cxn ang="0">
                    <a:pos x="199" y="228"/>
                  </a:cxn>
                  <a:cxn ang="0">
                    <a:pos x="199" y="257"/>
                  </a:cxn>
                  <a:cxn ang="0">
                    <a:pos x="220" y="257"/>
                  </a:cxn>
                  <a:cxn ang="0">
                    <a:pos x="229" y="293"/>
                  </a:cxn>
                  <a:cxn ang="0">
                    <a:pos x="229" y="384"/>
                  </a:cxn>
                  <a:cxn ang="0">
                    <a:pos x="242" y="394"/>
                  </a:cxn>
                  <a:cxn ang="0">
                    <a:pos x="229" y="423"/>
                  </a:cxn>
                  <a:cxn ang="0">
                    <a:pos x="208" y="435"/>
                  </a:cxn>
                  <a:cxn ang="0">
                    <a:pos x="110" y="358"/>
                  </a:cxn>
                  <a:cxn ang="0">
                    <a:pos x="42" y="202"/>
                  </a:cxn>
                  <a:cxn ang="0">
                    <a:pos x="20" y="166"/>
                  </a:cxn>
                  <a:cxn ang="0">
                    <a:pos x="0" y="137"/>
                  </a:cxn>
                  <a:cxn ang="0">
                    <a:pos x="12" y="137"/>
                  </a:cxn>
                  <a:cxn ang="0">
                    <a:pos x="0" y="101"/>
                  </a:cxn>
                  <a:cxn ang="0">
                    <a:pos x="12" y="72"/>
                  </a:cxn>
                </a:cxnLst>
                <a:rect l="0" t="0" r="r" b="b"/>
                <a:pathLst>
                  <a:path w="242" h="435">
                    <a:moveTo>
                      <a:pt x="12" y="72"/>
                    </a:moveTo>
                    <a:lnTo>
                      <a:pt x="12" y="101"/>
                    </a:lnTo>
                    <a:lnTo>
                      <a:pt x="30" y="111"/>
                    </a:lnTo>
                    <a:lnTo>
                      <a:pt x="55" y="72"/>
                    </a:lnTo>
                    <a:lnTo>
                      <a:pt x="88" y="60"/>
                    </a:lnTo>
                    <a:lnTo>
                      <a:pt x="97" y="36"/>
                    </a:lnTo>
                    <a:lnTo>
                      <a:pt x="110" y="21"/>
                    </a:lnTo>
                    <a:lnTo>
                      <a:pt x="97" y="0"/>
                    </a:lnTo>
                    <a:lnTo>
                      <a:pt x="110" y="0"/>
                    </a:lnTo>
                    <a:lnTo>
                      <a:pt x="131" y="21"/>
                    </a:lnTo>
                    <a:lnTo>
                      <a:pt x="144" y="60"/>
                    </a:lnTo>
                    <a:lnTo>
                      <a:pt x="190" y="46"/>
                    </a:lnTo>
                    <a:lnTo>
                      <a:pt x="199" y="60"/>
                    </a:lnTo>
                    <a:lnTo>
                      <a:pt x="199" y="86"/>
                    </a:lnTo>
                    <a:lnTo>
                      <a:pt x="208" y="101"/>
                    </a:lnTo>
                    <a:lnTo>
                      <a:pt x="165" y="111"/>
                    </a:lnTo>
                    <a:lnTo>
                      <a:pt x="152" y="137"/>
                    </a:lnTo>
                    <a:lnTo>
                      <a:pt x="144" y="177"/>
                    </a:lnTo>
                    <a:lnTo>
                      <a:pt x="152" y="217"/>
                    </a:lnTo>
                    <a:lnTo>
                      <a:pt x="174" y="238"/>
                    </a:lnTo>
                    <a:lnTo>
                      <a:pt x="199" y="228"/>
                    </a:lnTo>
                    <a:lnTo>
                      <a:pt x="199" y="257"/>
                    </a:lnTo>
                    <a:lnTo>
                      <a:pt x="220" y="257"/>
                    </a:lnTo>
                    <a:lnTo>
                      <a:pt x="229" y="293"/>
                    </a:lnTo>
                    <a:lnTo>
                      <a:pt x="229" y="384"/>
                    </a:lnTo>
                    <a:lnTo>
                      <a:pt x="242" y="394"/>
                    </a:lnTo>
                    <a:lnTo>
                      <a:pt x="229" y="423"/>
                    </a:lnTo>
                    <a:lnTo>
                      <a:pt x="208" y="435"/>
                    </a:lnTo>
                    <a:lnTo>
                      <a:pt x="110" y="358"/>
                    </a:lnTo>
                    <a:lnTo>
                      <a:pt x="42" y="202"/>
                    </a:lnTo>
                    <a:lnTo>
                      <a:pt x="20" y="166"/>
                    </a:lnTo>
                    <a:lnTo>
                      <a:pt x="0" y="137"/>
                    </a:lnTo>
                    <a:lnTo>
                      <a:pt x="12" y="137"/>
                    </a:lnTo>
                    <a:lnTo>
                      <a:pt x="0" y="101"/>
                    </a:lnTo>
                    <a:lnTo>
                      <a:pt x="12" y="7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9" name="Freeform 281">
                <a:extLst>
                  <a:ext uri="{FF2B5EF4-FFF2-40B4-BE49-F238E27FC236}">
                    <a16:creationId xmlns:a16="http://schemas.microsoft.com/office/drawing/2014/main" id="{597CE38F-EE70-4F83-934B-7ED1CF11A5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1906" y="4150952"/>
                <a:ext cx="149746" cy="209646"/>
              </a:xfrm>
              <a:custGeom>
                <a:avLst/>
                <a:gdLst/>
                <a:ahLst/>
                <a:cxnLst>
                  <a:cxn ang="0">
                    <a:pos x="12" y="114"/>
                  </a:cxn>
                  <a:cxn ang="0">
                    <a:pos x="20" y="114"/>
                  </a:cxn>
                  <a:cxn ang="0">
                    <a:pos x="0" y="89"/>
                  </a:cxn>
                  <a:cxn ang="0">
                    <a:pos x="0" y="64"/>
                  </a:cxn>
                  <a:cxn ang="0">
                    <a:pos x="12" y="53"/>
                  </a:cxn>
                  <a:cxn ang="0">
                    <a:pos x="12" y="43"/>
                  </a:cxn>
                  <a:cxn ang="0">
                    <a:pos x="20" y="43"/>
                  </a:cxn>
                  <a:cxn ang="0">
                    <a:pos x="20" y="24"/>
                  </a:cxn>
                  <a:cxn ang="0">
                    <a:pos x="42" y="0"/>
                  </a:cxn>
                  <a:cxn ang="0">
                    <a:pos x="67" y="43"/>
                  </a:cxn>
                  <a:cxn ang="0">
                    <a:pos x="97" y="24"/>
                  </a:cxn>
                  <a:cxn ang="0">
                    <a:pos x="110" y="43"/>
                  </a:cxn>
                  <a:cxn ang="0">
                    <a:pos x="97" y="43"/>
                  </a:cxn>
                  <a:cxn ang="0">
                    <a:pos x="110" y="64"/>
                  </a:cxn>
                  <a:cxn ang="0">
                    <a:pos x="97" y="79"/>
                  </a:cxn>
                  <a:cxn ang="0">
                    <a:pos x="88" y="103"/>
                  </a:cxn>
                  <a:cxn ang="0">
                    <a:pos x="55" y="114"/>
                  </a:cxn>
                  <a:cxn ang="0">
                    <a:pos x="30" y="154"/>
                  </a:cxn>
                  <a:cxn ang="0">
                    <a:pos x="12" y="143"/>
                  </a:cxn>
                  <a:cxn ang="0">
                    <a:pos x="12" y="114"/>
                  </a:cxn>
                </a:cxnLst>
                <a:rect l="0" t="0" r="r" b="b"/>
                <a:pathLst>
                  <a:path w="110" h="154">
                    <a:moveTo>
                      <a:pt x="12" y="114"/>
                    </a:moveTo>
                    <a:lnTo>
                      <a:pt x="20" y="114"/>
                    </a:lnTo>
                    <a:lnTo>
                      <a:pt x="0" y="89"/>
                    </a:lnTo>
                    <a:lnTo>
                      <a:pt x="0" y="64"/>
                    </a:lnTo>
                    <a:lnTo>
                      <a:pt x="12" y="53"/>
                    </a:lnTo>
                    <a:lnTo>
                      <a:pt x="12" y="43"/>
                    </a:lnTo>
                    <a:lnTo>
                      <a:pt x="20" y="43"/>
                    </a:lnTo>
                    <a:lnTo>
                      <a:pt x="20" y="24"/>
                    </a:lnTo>
                    <a:lnTo>
                      <a:pt x="42" y="0"/>
                    </a:lnTo>
                    <a:lnTo>
                      <a:pt x="67" y="43"/>
                    </a:lnTo>
                    <a:lnTo>
                      <a:pt x="97" y="24"/>
                    </a:lnTo>
                    <a:lnTo>
                      <a:pt x="110" y="43"/>
                    </a:lnTo>
                    <a:lnTo>
                      <a:pt x="97" y="43"/>
                    </a:lnTo>
                    <a:lnTo>
                      <a:pt x="110" y="64"/>
                    </a:lnTo>
                    <a:lnTo>
                      <a:pt x="97" y="79"/>
                    </a:lnTo>
                    <a:lnTo>
                      <a:pt x="88" y="103"/>
                    </a:lnTo>
                    <a:lnTo>
                      <a:pt x="55" y="114"/>
                    </a:lnTo>
                    <a:lnTo>
                      <a:pt x="30" y="154"/>
                    </a:lnTo>
                    <a:lnTo>
                      <a:pt x="12" y="143"/>
                    </a:lnTo>
                    <a:lnTo>
                      <a:pt x="12" y="1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0" name="Freeform 283">
                <a:extLst>
                  <a:ext uri="{FF2B5EF4-FFF2-40B4-BE49-F238E27FC236}">
                    <a16:creationId xmlns:a16="http://schemas.microsoft.com/office/drawing/2014/main" id="{93BE797F-0C74-455C-B103-F66CBF41D0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0442" y="3784752"/>
                <a:ext cx="299492" cy="562233"/>
              </a:xfrm>
              <a:custGeom>
                <a:avLst/>
                <a:gdLst/>
                <a:ahLst/>
                <a:cxnLst>
                  <a:cxn ang="0">
                    <a:pos x="0" y="267"/>
                  </a:cxn>
                  <a:cxn ang="0">
                    <a:pos x="24" y="310"/>
                  </a:cxn>
                  <a:cxn ang="0">
                    <a:pos x="54" y="293"/>
                  </a:cxn>
                  <a:cxn ang="0">
                    <a:pos x="67" y="310"/>
                  </a:cxn>
                  <a:cxn ang="0">
                    <a:pos x="88" y="333"/>
                  </a:cxn>
                  <a:cxn ang="0">
                    <a:pos x="101" y="372"/>
                  </a:cxn>
                  <a:cxn ang="0">
                    <a:pos x="146" y="358"/>
                  </a:cxn>
                  <a:cxn ang="0">
                    <a:pos x="155" y="372"/>
                  </a:cxn>
                  <a:cxn ang="0">
                    <a:pos x="155" y="398"/>
                  </a:cxn>
                  <a:cxn ang="0">
                    <a:pos x="165" y="413"/>
                  </a:cxn>
                  <a:cxn ang="0">
                    <a:pos x="165" y="333"/>
                  </a:cxn>
                  <a:cxn ang="0">
                    <a:pos x="155" y="293"/>
                  </a:cxn>
                  <a:cxn ang="0">
                    <a:pos x="176" y="293"/>
                  </a:cxn>
                  <a:cxn ang="0">
                    <a:pos x="165" y="281"/>
                  </a:cxn>
                  <a:cxn ang="0">
                    <a:pos x="165" y="267"/>
                  </a:cxn>
                  <a:cxn ang="0">
                    <a:pos x="210" y="257"/>
                  </a:cxn>
                  <a:cxn ang="0">
                    <a:pos x="220" y="267"/>
                  </a:cxn>
                  <a:cxn ang="0">
                    <a:pos x="198" y="231"/>
                  </a:cxn>
                  <a:cxn ang="0">
                    <a:pos x="210" y="231"/>
                  </a:cxn>
                  <a:cxn ang="0">
                    <a:pos x="198" y="192"/>
                  </a:cxn>
                  <a:cxn ang="0">
                    <a:pos x="210" y="154"/>
                  </a:cxn>
                  <a:cxn ang="0">
                    <a:pos x="176" y="154"/>
                  </a:cxn>
                  <a:cxn ang="0">
                    <a:pos x="165" y="140"/>
                  </a:cxn>
                  <a:cxn ang="0">
                    <a:pos x="131" y="125"/>
                  </a:cxn>
                  <a:cxn ang="0">
                    <a:pos x="121" y="125"/>
                  </a:cxn>
                  <a:cxn ang="0">
                    <a:pos x="121" y="115"/>
                  </a:cxn>
                  <a:cxn ang="0">
                    <a:pos x="109" y="75"/>
                  </a:cxn>
                  <a:cxn ang="0">
                    <a:pos x="121" y="36"/>
                  </a:cxn>
                  <a:cxn ang="0">
                    <a:pos x="131" y="24"/>
                  </a:cxn>
                  <a:cxn ang="0">
                    <a:pos x="146" y="10"/>
                  </a:cxn>
                  <a:cxn ang="0">
                    <a:pos x="146" y="0"/>
                  </a:cxn>
                  <a:cxn ang="0">
                    <a:pos x="101" y="36"/>
                  </a:cxn>
                  <a:cxn ang="0">
                    <a:pos x="88" y="36"/>
                  </a:cxn>
                  <a:cxn ang="0">
                    <a:pos x="67" y="36"/>
                  </a:cxn>
                  <a:cxn ang="0">
                    <a:pos x="67" y="75"/>
                  </a:cxn>
                  <a:cxn ang="0">
                    <a:pos x="45" y="101"/>
                  </a:cxn>
                  <a:cxn ang="0">
                    <a:pos x="45" y="115"/>
                  </a:cxn>
                  <a:cxn ang="0">
                    <a:pos x="34" y="101"/>
                  </a:cxn>
                  <a:cxn ang="0">
                    <a:pos x="34" y="115"/>
                  </a:cxn>
                  <a:cxn ang="0">
                    <a:pos x="24" y="125"/>
                  </a:cxn>
                  <a:cxn ang="0">
                    <a:pos x="24" y="140"/>
                  </a:cxn>
                  <a:cxn ang="0">
                    <a:pos x="24" y="202"/>
                  </a:cxn>
                  <a:cxn ang="0">
                    <a:pos x="34" y="220"/>
                  </a:cxn>
                  <a:cxn ang="0">
                    <a:pos x="24" y="242"/>
                  </a:cxn>
                  <a:cxn ang="0">
                    <a:pos x="12" y="242"/>
                  </a:cxn>
                  <a:cxn ang="0">
                    <a:pos x="0" y="267"/>
                  </a:cxn>
                </a:cxnLst>
                <a:rect l="0" t="0" r="r" b="b"/>
                <a:pathLst>
                  <a:path w="220" h="413">
                    <a:moveTo>
                      <a:pt x="0" y="267"/>
                    </a:moveTo>
                    <a:lnTo>
                      <a:pt x="24" y="310"/>
                    </a:lnTo>
                    <a:lnTo>
                      <a:pt x="54" y="293"/>
                    </a:lnTo>
                    <a:lnTo>
                      <a:pt x="67" y="310"/>
                    </a:lnTo>
                    <a:lnTo>
                      <a:pt x="88" y="333"/>
                    </a:lnTo>
                    <a:lnTo>
                      <a:pt x="101" y="372"/>
                    </a:lnTo>
                    <a:lnTo>
                      <a:pt x="146" y="358"/>
                    </a:lnTo>
                    <a:lnTo>
                      <a:pt x="155" y="372"/>
                    </a:lnTo>
                    <a:lnTo>
                      <a:pt x="155" y="398"/>
                    </a:lnTo>
                    <a:lnTo>
                      <a:pt x="165" y="413"/>
                    </a:lnTo>
                    <a:lnTo>
                      <a:pt x="165" y="333"/>
                    </a:lnTo>
                    <a:lnTo>
                      <a:pt x="155" y="293"/>
                    </a:lnTo>
                    <a:lnTo>
                      <a:pt x="176" y="293"/>
                    </a:lnTo>
                    <a:lnTo>
                      <a:pt x="165" y="281"/>
                    </a:lnTo>
                    <a:lnTo>
                      <a:pt x="165" y="267"/>
                    </a:lnTo>
                    <a:lnTo>
                      <a:pt x="210" y="257"/>
                    </a:lnTo>
                    <a:lnTo>
                      <a:pt x="220" y="267"/>
                    </a:lnTo>
                    <a:lnTo>
                      <a:pt x="198" y="231"/>
                    </a:lnTo>
                    <a:lnTo>
                      <a:pt x="210" y="231"/>
                    </a:lnTo>
                    <a:lnTo>
                      <a:pt x="198" y="192"/>
                    </a:lnTo>
                    <a:lnTo>
                      <a:pt x="210" y="154"/>
                    </a:lnTo>
                    <a:lnTo>
                      <a:pt x="176" y="154"/>
                    </a:lnTo>
                    <a:lnTo>
                      <a:pt x="165" y="140"/>
                    </a:lnTo>
                    <a:lnTo>
                      <a:pt x="131" y="125"/>
                    </a:lnTo>
                    <a:lnTo>
                      <a:pt x="121" y="125"/>
                    </a:lnTo>
                    <a:lnTo>
                      <a:pt x="121" y="115"/>
                    </a:lnTo>
                    <a:lnTo>
                      <a:pt x="109" y="75"/>
                    </a:lnTo>
                    <a:lnTo>
                      <a:pt x="121" y="36"/>
                    </a:lnTo>
                    <a:lnTo>
                      <a:pt x="131" y="24"/>
                    </a:lnTo>
                    <a:lnTo>
                      <a:pt x="146" y="10"/>
                    </a:lnTo>
                    <a:lnTo>
                      <a:pt x="146" y="0"/>
                    </a:lnTo>
                    <a:lnTo>
                      <a:pt x="101" y="36"/>
                    </a:lnTo>
                    <a:lnTo>
                      <a:pt x="88" y="36"/>
                    </a:lnTo>
                    <a:lnTo>
                      <a:pt x="67" y="36"/>
                    </a:lnTo>
                    <a:lnTo>
                      <a:pt x="67" y="75"/>
                    </a:lnTo>
                    <a:lnTo>
                      <a:pt x="45" y="101"/>
                    </a:lnTo>
                    <a:lnTo>
                      <a:pt x="45" y="115"/>
                    </a:lnTo>
                    <a:lnTo>
                      <a:pt x="34" y="101"/>
                    </a:lnTo>
                    <a:lnTo>
                      <a:pt x="34" y="115"/>
                    </a:lnTo>
                    <a:lnTo>
                      <a:pt x="24" y="125"/>
                    </a:lnTo>
                    <a:lnTo>
                      <a:pt x="24" y="140"/>
                    </a:lnTo>
                    <a:lnTo>
                      <a:pt x="24" y="202"/>
                    </a:lnTo>
                    <a:lnTo>
                      <a:pt x="34" y="220"/>
                    </a:lnTo>
                    <a:lnTo>
                      <a:pt x="24" y="242"/>
                    </a:lnTo>
                    <a:lnTo>
                      <a:pt x="12" y="242"/>
                    </a:lnTo>
                    <a:lnTo>
                      <a:pt x="0" y="26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1" name="Freeform 285">
                <a:extLst>
                  <a:ext uri="{FF2B5EF4-FFF2-40B4-BE49-F238E27FC236}">
                    <a16:creationId xmlns:a16="http://schemas.microsoft.com/office/drawing/2014/main" id="{6AD739B6-C91E-4E01-9867-0310EC326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0189" y="3799727"/>
                <a:ext cx="333526" cy="367561"/>
              </a:xfrm>
              <a:custGeom>
                <a:avLst/>
                <a:gdLst/>
                <a:ahLst/>
                <a:cxnLst>
                  <a:cxn ang="0">
                    <a:pos x="245" y="90"/>
                  </a:cxn>
                  <a:cxn ang="0">
                    <a:pos x="229" y="90"/>
                  </a:cxn>
                  <a:cxn ang="0">
                    <a:pos x="220" y="90"/>
                  </a:cxn>
                  <a:cxn ang="0">
                    <a:pos x="220" y="64"/>
                  </a:cxn>
                  <a:cxn ang="0">
                    <a:pos x="198" y="54"/>
                  </a:cxn>
                  <a:cxn ang="0">
                    <a:pos x="187" y="40"/>
                  </a:cxn>
                  <a:cxn ang="0">
                    <a:pos x="198" y="40"/>
                  </a:cxn>
                  <a:cxn ang="0">
                    <a:pos x="165" y="40"/>
                  </a:cxn>
                  <a:cxn ang="0">
                    <a:pos x="143" y="54"/>
                  </a:cxn>
                  <a:cxn ang="0">
                    <a:pos x="123" y="40"/>
                  </a:cxn>
                  <a:cxn ang="0">
                    <a:pos x="88" y="40"/>
                  </a:cxn>
                  <a:cxn ang="0">
                    <a:pos x="88" y="25"/>
                  </a:cxn>
                  <a:cxn ang="0">
                    <a:pos x="67" y="14"/>
                  </a:cxn>
                  <a:cxn ang="0">
                    <a:pos x="55" y="0"/>
                  </a:cxn>
                  <a:cxn ang="0">
                    <a:pos x="55" y="14"/>
                  </a:cxn>
                  <a:cxn ang="0">
                    <a:pos x="37" y="25"/>
                  </a:cxn>
                  <a:cxn ang="0">
                    <a:pos x="37" y="64"/>
                  </a:cxn>
                  <a:cxn ang="0">
                    <a:pos x="21" y="79"/>
                  </a:cxn>
                  <a:cxn ang="0">
                    <a:pos x="21" y="54"/>
                  </a:cxn>
                  <a:cxn ang="0">
                    <a:pos x="37" y="40"/>
                  </a:cxn>
                  <a:cxn ang="0">
                    <a:pos x="21" y="14"/>
                  </a:cxn>
                  <a:cxn ang="0">
                    <a:pos x="12" y="25"/>
                  </a:cxn>
                  <a:cxn ang="0">
                    <a:pos x="0" y="64"/>
                  </a:cxn>
                  <a:cxn ang="0">
                    <a:pos x="12" y="105"/>
                  </a:cxn>
                  <a:cxn ang="0">
                    <a:pos x="12" y="116"/>
                  </a:cxn>
                  <a:cxn ang="0">
                    <a:pos x="21" y="116"/>
                  </a:cxn>
                  <a:cxn ang="0">
                    <a:pos x="55" y="129"/>
                  </a:cxn>
                  <a:cxn ang="0">
                    <a:pos x="67" y="145"/>
                  </a:cxn>
                  <a:cxn ang="0">
                    <a:pos x="101" y="145"/>
                  </a:cxn>
                  <a:cxn ang="0">
                    <a:pos x="88" y="181"/>
                  </a:cxn>
                  <a:cxn ang="0">
                    <a:pos x="101" y="220"/>
                  </a:cxn>
                  <a:cxn ang="0">
                    <a:pos x="88" y="220"/>
                  </a:cxn>
                  <a:cxn ang="0">
                    <a:pos x="110" y="256"/>
                  </a:cxn>
                  <a:cxn ang="0">
                    <a:pos x="110" y="270"/>
                  </a:cxn>
                  <a:cxn ang="0">
                    <a:pos x="131" y="270"/>
                  </a:cxn>
                  <a:cxn ang="0">
                    <a:pos x="165" y="246"/>
                  </a:cxn>
                  <a:cxn ang="0">
                    <a:pos x="153" y="231"/>
                  </a:cxn>
                  <a:cxn ang="0">
                    <a:pos x="153" y="210"/>
                  </a:cxn>
                  <a:cxn ang="0">
                    <a:pos x="143" y="191"/>
                  </a:cxn>
                  <a:cxn ang="0">
                    <a:pos x="177" y="210"/>
                  </a:cxn>
                  <a:cxn ang="0">
                    <a:pos x="220" y="181"/>
                  </a:cxn>
                  <a:cxn ang="0">
                    <a:pos x="220" y="166"/>
                  </a:cxn>
                  <a:cxn ang="0">
                    <a:pos x="207" y="155"/>
                  </a:cxn>
                  <a:cxn ang="0">
                    <a:pos x="220" y="129"/>
                  </a:cxn>
                  <a:cxn ang="0">
                    <a:pos x="229" y="129"/>
                  </a:cxn>
                  <a:cxn ang="0">
                    <a:pos x="220" y="116"/>
                  </a:cxn>
                  <a:cxn ang="0">
                    <a:pos x="220" y="105"/>
                  </a:cxn>
                  <a:cxn ang="0">
                    <a:pos x="245" y="90"/>
                  </a:cxn>
                </a:cxnLst>
                <a:rect l="0" t="0" r="r" b="b"/>
                <a:pathLst>
                  <a:path w="245" h="270">
                    <a:moveTo>
                      <a:pt x="245" y="90"/>
                    </a:moveTo>
                    <a:lnTo>
                      <a:pt x="229" y="90"/>
                    </a:lnTo>
                    <a:lnTo>
                      <a:pt x="220" y="90"/>
                    </a:lnTo>
                    <a:lnTo>
                      <a:pt x="220" y="64"/>
                    </a:lnTo>
                    <a:lnTo>
                      <a:pt x="198" y="54"/>
                    </a:lnTo>
                    <a:lnTo>
                      <a:pt x="187" y="40"/>
                    </a:lnTo>
                    <a:lnTo>
                      <a:pt x="198" y="40"/>
                    </a:lnTo>
                    <a:lnTo>
                      <a:pt x="165" y="40"/>
                    </a:lnTo>
                    <a:lnTo>
                      <a:pt x="143" y="54"/>
                    </a:lnTo>
                    <a:lnTo>
                      <a:pt x="123" y="40"/>
                    </a:lnTo>
                    <a:lnTo>
                      <a:pt x="88" y="40"/>
                    </a:lnTo>
                    <a:lnTo>
                      <a:pt x="88" y="25"/>
                    </a:lnTo>
                    <a:lnTo>
                      <a:pt x="67" y="14"/>
                    </a:lnTo>
                    <a:lnTo>
                      <a:pt x="55" y="0"/>
                    </a:lnTo>
                    <a:lnTo>
                      <a:pt x="55" y="14"/>
                    </a:lnTo>
                    <a:lnTo>
                      <a:pt x="37" y="25"/>
                    </a:lnTo>
                    <a:lnTo>
                      <a:pt x="37" y="64"/>
                    </a:lnTo>
                    <a:lnTo>
                      <a:pt x="21" y="79"/>
                    </a:lnTo>
                    <a:lnTo>
                      <a:pt x="21" y="54"/>
                    </a:lnTo>
                    <a:lnTo>
                      <a:pt x="37" y="40"/>
                    </a:lnTo>
                    <a:lnTo>
                      <a:pt x="21" y="14"/>
                    </a:lnTo>
                    <a:lnTo>
                      <a:pt x="12" y="25"/>
                    </a:lnTo>
                    <a:lnTo>
                      <a:pt x="0" y="64"/>
                    </a:lnTo>
                    <a:lnTo>
                      <a:pt x="12" y="105"/>
                    </a:lnTo>
                    <a:lnTo>
                      <a:pt x="12" y="116"/>
                    </a:lnTo>
                    <a:lnTo>
                      <a:pt x="21" y="116"/>
                    </a:lnTo>
                    <a:lnTo>
                      <a:pt x="55" y="129"/>
                    </a:lnTo>
                    <a:lnTo>
                      <a:pt x="67" y="145"/>
                    </a:lnTo>
                    <a:lnTo>
                      <a:pt x="101" y="145"/>
                    </a:lnTo>
                    <a:lnTo>
                      <a:pt x="88" y="181"/>
                    </a:lnTo>
                    <a:lnTo>
                      <a:pt x="101" y="220"/>
                    </a:lnTo>
                    <a:lnTo>
                      <a:pt x="88" y="220"/>
                    </a:lnTo>
                    <a:lnTo>
                      <a:pt x="110" y="256"/>
                    </a:lnTo>
                    <a:lnTo>
                      <a:pt x="110" y="270"/>
                    </a:lnTo>
                    <a:lnTo>
                      <a:pt x="131" y="270"/>
                    </a:lnTo>
                    <a:lnTo>
                      <a:pt x="165" y="246"/>
                    </a:lnTo>
                    <a:lnTo>
                      <a:pt x="153" y="231"/>
                    </a:lnTo>
                    <a:lnTo>
                      <a:pt x="153" y="210"/>
                    </a:lnTo>
                    <a:lnTo>
                      <a:pt x="143" y="191"/>
                    </a:lnTo>
                    <a:lnTo>
                      <a:pt x="177" y="210"/>
                    </a:lnTo>
                    <a:lnTo>
                      <a:pt x="220" y="181"/>
                    </a:lnTo>
                    <a:lnTo>
                      <a:pt x="220" y="166"/>
                    </a:lnTo>
                    <a:lnTo>
                      <a:pt x="207" y="155"/>
                    </a:lnTo>
                    <a:lnTo>
                      <a:pt x="220" y="129"/>
                    </a:lnTo>
                    <a:lnTo>
                      <a:pt x="229" y="129"/>
                    </a:lnTo>
                    <a:lnTo>
                      <a:pt x="220" y="116"/>
                    </a:lnTo>
                    <a:lnTo>
                      <a:pt x="220" y="105"/>
                    </a:lnTo>
                    <a:lnTo>
                      <a:pt x="245" y="9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2" name="Freeform 291">
                <a:extLst>
                  <a:ext uri="{FF2B5EF4-FFF2-40B4-BE49-F238E27FC236}">
                    <a16:creationId xmlns:a16="http://schemas.microsoft.com/office/drawing/2014/main" id="{B07C41BE-F8B9-44E5-B323-9E27E5A7E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6424" y="4785335"/>
                <a:ext cx="299492" cy="1193893"/>
              </a:xfrm>
              <a:custGeom>
                <a:avLst/>
                <a:gdLst/>
                <a:ahLst/>
                <a:cxnLst>
                  <a:cxn ang="0">
                    <a:pos x="20" y="102"/>
                  </a:cxn>
                  <a:cxn ang="0">
                    <a:pos x="33" y="217"/>
                  </a:cxn>
                  <a:cxn ang="0">
                    <a:pos x="33" y="308"/>
                  </a:cxn>
                  <a:cxn ang="0">
                    <a:pos x="45" y="363"/>
                  </a:cxn>
                  <a:cxn ang="0">
                    <a:pos x="45" y="474"/>
                  </a:cxn>
                  <a:cxn ang="0">
                    <a:pos x="33" y="485"/>
                  </a:cxn>
                  <a:cxn ang="0">
                    <a:pos x="55" y="565"/>
                  </a:cxn>
                  <a:cxn ang="0">
                    <a:pos x="67" y="576"/>
                  </a:cxn>
                  <a:cxn ang="0">
                    <a:pos x="88" y="641"/>
                  </a:cxn>
                  <a:cxn ang="0">
                    <a:pos x="75" y="685"/>
                  </a:cxn>
                  <a:cxn ang="0">
                    <a:pos x="67" y="709"/>
                  </a:cxn>
                  <a:cxn ang="0">
                    <a:pos x="97" y="746"/>
                  </a:cxn>
                  <a:cxn ang="0">
                    <a:pos x="88" y="746"/>
                  </a:cxn>
                  <a:cxn ang="0">
                    <a:pos x="110" y="786"/>
                  </a:cxn>
                  <a:cxn ang="0">
                    <a:pos x="122" y="786"/>
                  </a:cxn>
                  <a:cxn ang="0">
                    <a:pos x="122" y="822"/>
                  </a:cxn>
                  <a:cxn ang="0">
                    <a:pos x="131" y="811"/>
                  </a:cxn>
                  <a:cxn ang="0">
                    <a:pos x="131" y="822"/>
                  </a:cxn>
                  <a:cxn ang="0">
                    <a:pos x="143" y="851"/>
                  </a:cxn>
                  <a:cxn ang="0">
                    <a:pos x="207" y="877"/>
                  </a:cxn>
                  <a:cxn ang="0">
                    <a:pos x="220" y="851"/>
                  </a:cxn>
                  <a:cxn ang="0">
                    <a:pos x="174" y="833"/>
                  </a:cxn>
                  <a:cxn ang="0">
                    <a:pos x="143" y="797"/>
                  </a:cxn>
                  <a:cxn ang="0">
                    <a:pos x="131" y="709"/>
                  </a:cxn>
                  <a:cxn ang="0">
                    <a:pos x="122" y="670"/>
                  </a:cxn>
                  <a:cxn ang="0">
                    <a:pos x="97" y="620"/>
                  </a:cxn>
                  <a:cxn ang="0">
                    <a:pos x="88" y="576"/>
                  </a:cxn>
                  <a:cxn ang="0">
                    <a:pos x="67" y="474"/>
                  </a:cxn>
                  <a:cxn ang="0">
                    <a:pos x="67" y="438"/>
                  </a:cxn>
                  <a:cxn ang="0">
                    <a:pos x="55" y="337"/>
                  </a:cxn>
                  <a:cxn ang="0">
                    <a:pos x="67" y="217"/>
                  </a:cxn>
                  <a:cxn ang="0">
                    <a:pos x="75" y="152"/>
                  </a:cxn>
                  <a:cxn ang="0">
                    <a:pos x="67" y="126"/>
                  </a:cxn>
                  <a:cxn ang="0">
                    <a:pos x="45" y="37"/>
                  </a:cxn>
                  <a:cxn ang="0">
                    <a:pos x="0" y="11"/>
                  </a:cxn>
                </a:cxnLst>
                <a:rect l="0" t="0" r="r" b="b"/>
                <a:pathLst>
                  <a:path w="220" h="877">
                    <a:moveTo>
                      <a:pt x="0" y="11"/>
                    </a:moveTo>
                    <a:lnTo>
                      <a:pt x="20" y="102"/>
                    </a:lnTo>
                    <a:lnTo>
                      <a:pt x="20" y="126"/>
                    </a:lnTo>
                    <a:lnTo>
                      <a:pt x="33" y="217"/>
                    </a:lnTo>
                    <a:lnTo>
                      <a:pt x="20" y="282"/>
                    </a:lnTo>
                    <a:lnTo>
                      <a:pt x="33" y="308"/>
                    </a:lnTo>
                    <a:lnTo>
                      <a:pt x="20" y="318"/>
                    </a:lnTo>
                    <a:lnTo>
                      <a:pt x="45" y="363"/>
                    </a:lnTo>
                    <a:lnTo>
                      <a:pt x="45" y="399"/>
                    </a:lnTo>
                    <a:lnTo>
                      <a:pt x="45" y="474"/>
                    </a:lnTo>
                    <a:lnTo>
                      <a:pt x="33" y="474"/>
                    </a:lnTo>
                    <a:lnTo>
                      <a:pt x="33" y="485"/>
                    </a:lnTo>
                    <a:lnTo>
                      <a:pt x="55" y="539"/>
                    </a:lnTo>
                    <a:lnTo>
                      <a:pt x="55" y="565"/>
                    </a:lnTo>
                    <a:lnTo>
                      <a:pt x="67" y="594"/>
                    </a:lnTo>
                    <a:lnTo>
                      <a:pt x="67" y="576"/>
                    </a:lnTo>
                    <a:lnTo>
                      <a:pt x="75" y="594"/>
                    </a:lnTo>
                    <a:lnTo>
                      <a:pt x="88" y="641"/>
                    </a:lnTo>
                    <a:lnTo>
                      <a:pt x="67" y="641"/>
                    </a:lnTo>
                    <a:lnTo>
                      <a:pt x="75" y="685"/>
                    </a:lnTo>
                    <a:lnTo>
                      <a:pt x="75" y="695"/>
                    </a:lnTo>
                    <a:lnTo>
                      <a:pt x="67" y="709"/>
                    </a:lnTo>
                    <a:lnTo>
                      <a:pt x="97" y="709"/>
                    </a:lnTo>
                    <a:lnTo>
                      <a:pt x="97" y="746"/>
                    </a:lnTo>
                    <a:lnTo>
                      <a:pt x="88" y="732"/>
                    </a:lnTo>
                    <a:lnTo>
                      <a:pt x="88" y="746"/>
                    </a:lnTo>
                    <a:lnTo>
                      <a:pt x="97" y="786"/>
                    </a:lnTo>
                    <a:lnTo>
                      <a:pt x="110" y="786"/>
                    </a:lnTo>
                    <a:lnTo>
                      <a:pt x="110" y="797"/>
                    </a:lnTo>
                    <a:lnTo>
                      <a:pt x="122" y="786"/>
                    </a:lnTo>
                    <a:lnTo>
                      <a:pt x="122" y="797"/>
                    </a:lnTo>
                    <a:lnTo>
                      <a:pt x="122" y="822"/>
                    </a:lnTo>
                    <a:lnTo>
                      <a:pt x="131" y="822"/>
                    </a:lnTo>
                    <a:lnTo>
                      <a:pt x="131" y="811"/>
                    </a:lnTo>
                    <a:lnTo>
                      <a:pt x="143" y="822"/>
                    </a:lnTo>
                    <a:lnTo>
                      <a:pt x="131" y="822"/>
                    </a:lnTo>
                    <a:lnTo>
                      <a:pt x="131" y="833"/>
                    </a:lnTo>
                    <a:lnTo>
                      <a:pt x="143" y="851"/>
                    </a:lnTo>
                    <a:lnTo>
                      <a:pt x="143" y="833"/>
                    </a:lnTo>
                    <a:lnTo>
                      <a:pt x="207" y="877"/>
                    </a:lnTo>
                    <a:lnTo>
                      <a:pt x="207" y="851"/>
                    </a:lnTo>
                    <a:lnTo>
                      <a:pt x="220" y="851"/>
                    </a:lnTo>
                    <a:lnTo>
                      <a:pt x="220" y="833"/>
                    </a:lnTo>
                    <a:lnTo>
                      <a:pt x="174" y="833"/>
                    </a:lnTo>
                    <a:lnTo>
                      <a:pt x="152" y="797"/>
                    </a:lnTo>
                    <a:lnTo>
                      <a:pt x="143" y="797"/>
                    </a:lnTo>
                    <a:lnTo>
                      <a:pt x="131" y="786"/>
                    </a:lnTo>
                    <a:lnTo>
                      <a:pt x="131" y="709"/>
                    </a:lnTo>
                    <a:lnTo>
                      <a:pt x="122" y="656"/>
                    </a:lnTo>
                    <a:lnTo>
                      <a:pt x="122" y="670"/>
                    </a:lnTo>
                    <a:lnTo>
                      <a:pt x="110" y="656"/>
                    </a:lnTo>
                    <a:lnTo>
                      <a:pt x="97" y="620"/>
                    </a:lnTo>
                    <a:lnTo>
                      <a:pt x="97" y="594"/>
                    </a:lnTo>
                    <a:lnTo>
                      <a:pt x="88" y="576"/>
                    </a:lnTo>
                    <a:lnTo>
                      <a:pt x="88" y="514"/>
                    </a:lnTo>
                    <a:lnTo>
                      <a:pt x="67" y="474"/>
                    </a:lnTo>
                    <a:lnTo>
                      <a:pt x="75" y="449"/>
                    </a:lnTo>
                    <a:lnTo>
                      <a:pt x="67" y="438"/>
                    </a:lnTo>
                    <a:lnTo>
                      <a:pt x="75" y="399"/>
                    </a:lnTo>
                    <a:lnTo>
                      <a:pt x="55" y="337"/>
                    </a:lnTo>
                    <a:lnTo>
                      <a:pt x="55" y="257"/>
                    </a:lnTo>
                    <a:lnTo>
                      <a:pt x="67" y="217"/>
                    </a:lnTo>
                    <a:lnTo>
                      <a:pt x="55" y="167"/>
                    </a:lnTo>
                    <a:lnTo>
                      <a:pt x="75" y="152"/>
                    </a:lnTo>
                    <a:lnTo>
                      <a:pt x="75" y="126"/>
                    </a:lnTo>
                    <a:lnTo>
                      <a:pt x="67" y="126"/>
                    </a:lnTo>
                    <a:lnTo>
                      <a:pt x="45" y="61"/>
                    </a:lnTo>
                    <a:lnTo>
                      <a:pt x="45" y="37"/>
                    </a:lnTo>
                    <a:lnTo>
                      <a:pt x="20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3" name="Freeform 331">
                <a:extLst>
                  <a:ext uri="{FF2B5EF4-FFF2-40B4-BE49-F238E27FC236}">
                    <a16:creationId xmlns:a16="http://schemas.microsoft.com/office/drawing/2014/main" id="{9CC07727-08CE-4686-8729-4372A31FF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4259" y="3433527"/>
                <a:ext cx="254569" cy="103462"/>
              </a:xfrm>
              <a:custGeom>
                <a:avLst/>
                <a:gdLst/>
                <a:ahLst/>
                <a:cxnLst>
                  <a:cxn ang="0">
                    <a:pos x="0" y="35"/>
                  </a:cxn>
                  <a:cxn ang="0">
                    <a:pos x="24" y="11"/>
                  </a:cxn>
                  <a:cxn ang="0">
                    <a:pos x="64" y="0"/>
                  </a:cxn>
                  <a:cxn ang="0">
                    <a:pos x="122" y="21"/>
                  </a:cxn>
                  <a:cxn ang="0">
                    <a:pos x="144" y="47"/>
                  </a:cxn>
                  <a:cxn ang="0">
                    <a:pos x="166" y="47"/>
                  </a:cxn>
                  <a:cxn ang="0">
                    <a:pos x="166" y="64"/>
                  </a:cxn>
                  <a:cxn ang="0">
                    <a:pos x="178" y="64"/>
                  </a:cxn>
                  <a:cxn ang="0">
                    <a:pos x="187" y="76"/>
                  </a:cxn>
                  <a:cxn ang="0">
                    <a:pos x="122" y="76"/>
                  </a:cxn>
                  <a:cxn ang="0">
                    <a:pos x="131" y="64"/>
                  </a:cxn>
                  <a:cxn ang="0">
                    <a:pos x="122" y="64"/>
                  </a:cxn>
                  <a:cxn ang="0">
                    <a:pos x="111" y="35"/>
                  </a:cxn>
                  <a:cxn ang="0">
                    <a:pos x="55" y="21"/>
                  </a:cxn>
                  <a:cxn ang="0">
                    <a:pos x="64" y="11"/>
                  </a:cxn>
                  <a:cxn ang="0">
                    <a:pos x="46" y="11"/>
                  </a:cxn>
                  <a:cxn ang="0">
                    <a:pos x="9" y="35"/>
                  </a:cxn>
                  <a:cxn ang="0">
                    <a:pos x="0" y="35"/>
                  </a:cxn>
                </a:cxnLst>
                <a:rect l="0" t="0" r="r" b="b"/>
                <a:pathLst>
                  <a:path w="187" h="76">
                    <a:moveTo>
                      <a:pt x="0" y="35"/>
                    </a:moveTo>
                    <a:lnTo>
                      <a:pt x="24" y="11"/>
                    </a:lnTo>
                    <a:lnTo>
                      <a:pt x="64" y="0"/>
                    </a:lnTo>
                    <a:lnTo>
                      <a:pt x="122" y="21"/>
                    </a:lnTo>
                    <a:lnTo>
                      <a:pt x="144" y="47"/>
                    </a:lnTo>
                    <a:lnTo>
                      <a:pt x="166" y="47"/>
                    </a:lnTo>
                    <a:lnTo>
                      <a:pt x="166" y="64"/>
                    </a:lnTo>
                    <a:lnTo>
                      <a:pt x="178" y="64"/>
                    </a:lnTo>
                    <a:lnTo>
                      <a:pt x="187" y="76"/>
                    </a:lnTo>
                    <a:lnTo>
                      <a:pt x="122" y="76"/>
                    </a:lnTo>
                    <a:lnTo>
                      <a:pt x="131" y="64"/>
                    </a:lnTo>
                    <a:lnTo>
                      <a:pt x="122" y="64"/>
                    </a:lnTo>
                    <a:lnTo>
                      <a:pt x="111" y="35"/>
                    </a:lnTo>
                    <a:lnTo>
                      <a:pt x="55" y="21"/>
                    </a:lnTo>
                    <a:lnTo>
                      <a:pt x="64" y="11"/>
                    </a:lnTo>
                    <a:lnTo>
                      <a:pt x="46" y="11"/>
                    </a:lnTo>
                    <a:lnTo>
                      <a:pt x="9" y="35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4" name="Freeform 271">
                <a:extLst>
                  <a:ext uri="{FF2B5EF4-FFF2-40B4-BE49-F238E27FC236}">
                    <a16:creationId xmlns:a16="http://schemas.microsoft.com/office/drawing/2014/main" id="{BAE42725-4CA5-4208-914D-C01E6BBE6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0791" y="5205989"/>
                <a:ext cx="117074" cy="156554"/>
              </a:xfrm>
              <a:custGeom>
                <a:avLst/>
                <a:gdLst/>
                <a:ahLst/>
                <a:cxnLst>
                  <a:cxn ang="0">
                    <a:pos x="0" y="90"/>
                  </a:cxn>
                  <a:cxn ang="0">
                    <a:pos x="46" y="115"/>
                  </a:cxn>
                  <a:cxn ang="0">
                    <a:pos x="76" y="100"/>
                  </a:cxn>
                  <a:cxn ang="0">
                    <a:pos x="86" y="90"/>
                  </a:cxn>
                  <a:cxn ang="0">
                    <a:pos x="86" y="64"/>
                  </a:cxn>
                  <a:cxn ang="0">
                    <a:pos x="76" y="40"/>
                  </a:cxn>
                  <a:cxn ang="0">
                    <a:pos x="31" y="10"/>
                  </a:cxn>
                  <a:cxn ang="0">
                    <a:pos x="31" y="28"/>
                  </a:cxn>
                  <a:cxn ang="0">
                    <a:pos x="9" y="0"/>
                  </a:cxn>
                  <a:cxn ang="0">
                    <a:pos x="0" y="0"/>
                  </a:cxn>
                  <a:cxn ang="0">
                    <a:pos x="0" y="90"/>
                  </a:cxn>
                </a:cxnLst>
                <a:rect l="0" t="0" r="r" b="b"/>
                <a:pathLst>
                  <a:path w="86" h="115">
                    <a:moveTo>
                      <a:pt x="0" y="90"/>
                    </a:moveTo>
                    <a:lnTo>
                      <a:pt x="46" y="115"/>
                    </a:lnTo>
                    <a:lnTo>
                      <a:pt x="76" y="100"/>
                    </a:lnTo>
                    <a:lnTo>
                      <a:pt x="86" y="90"/>
                    </a:lnTo>
                    <a:lnTo>
                      <a:pt x="86" y="64"/>
                    </a:lnTo>
                    <a:lnTo>
                      <a:pt x="76" y="40"/>
                    </a:lnTo>
                    <a:lnTo>
                      <a:pt x="31" y="10"/>
                    </a:lnTo>
                    <a:lnTo>
                      <a:pt x="31" y="28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9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5" name="Freeform 273">
                <a:extLst>
                  <a:ext uri="{FF2B5EF4-FFF2-40B4-BE49-F238E27FC236}">
                    <a16:creationId xmlns:a16="http://schemas.microsoft.com/office/drawing/2014/main" id="{172581B3-B685-4FF8-9165-6FA3A872F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7937" y="4027070"/>
                <a:ext cx="954293" cy="1301439"/>
              </a:xfrm>
              <a:custGeom>
                <a:avLst/>
                <a:gdLst/>
                <a:ahLst/>
                <a:cxnLst>
                  <a:cxn ang="0">
                    <a:pos x="406" y="43"/>
                  </a:cxn>
                  <a:cxn ang="0">
                    <a:pos x="425" y="89"/>
                  </a:cxn>
                  <a:cxn ang="0">
                    <a:pos x="406" y="134"/>
                  </a:cxn>
                  <a:cxn ang="0">
                    <a:pos x="415" y="170"/>
                  </a:cxn>
                  <a:cxn ang="0">
                    <a:pos x="446" y="134"/>
                  </a:cxn>
                  <a:cxn ang="0">
                    <a:pos x="446" y="170"/>
                  </a:cxn>
                  <a:cxn ang="0">
                    <a:pos x="470" y="144"/>
                  </a:cxn>
                  <a:cxn ang="0">
                    <a:pos x="514" y="170"/>
                  </a:cxn>
                  <a:cxn ang="0">
                    <a:pos x="525" y="180"/>
                  </a:cxn>
                  <a:cxn ang="0">
                    <a:pos x="547" y="180"/>
                  </a:cxn>
                  <a:cxn ang="0">
                    <a:pos x="614" y="194"/>
                  </a:cxn>
                  <a:cxn ang="0">
                    <a:pos x="691" y="259"/>
                  </a:cxn>
                  <a:cxn ang="0">
                    <a:pos x="701" y="325"/>
                  </a:cxn>
                  <a:cxn ang="0">
                    <a:pos x="636" y="451"/>
                  </a:cxn>
                  <a:cxn ang="0">
                    <a:pos x="636" y="568"/>
                  </a:cxn>
                  <a:cxn ang="0">
                    <a:pos x="614" y="647"/>
                  </a:cxn>
                  <a:cxn ang="0">
                    <a:pos x="593" y="673"/>
                  </a:cxn>
                  <a:cxn ang="0">
                    <a:pos x="547" y="683"/>
                  </a:cxn>
                  <a:cxn ang="0">
                    <a:pos x="538" y="698"/>
                  </a:cxn>
                  <a:cxn ang="0">
                    <a:pos x="525" y="709"/>
                  </a:cxn>
                  <a:cxn ang="0">
                    <a:pos x="483" y="763"/>
                  </a:cxn>
                  <a:cxn ang="0">
                    <a:pos x="470" y="850"/>
                  </a:cxn>
                  <a:cxn ang="0">
                    <a:pos x="437" y="918"/>
                  </a:cxn>
                  <a:cxn ang="0">
                    <a:pos x="425" y="930"/>
                  </a:cxn>
                  <a:cxn ang="0">
                    <a:pos x="370" y="875"/>
                  </a:cxn>
                  <a:cxn ang="0">
                    <a:pos x="348" y="865"/>
                  </a:cxn>
                  <a:cxn ang="0">
                    <a:pos x="385" y="803"/>
                  </a:cxn>
                  <a:cxn ang="0">
                    <a:pos x="385" y="748"/>
                  </a:cxn>
                  <a:cxn ang="0">
                    <a:pos x="370" y="709"/>
                  </a:cxn>
                  <a:cxn ang="0">
                    <a:pos x="348" y="673"/>
                  </a:cxn>
                  <a:cxn ang="0">
                    <a:pos x="305" y="658"/>
                  </a:cxn>
                  <a:cxn ang="0">
                    <a:pos x="305" y="568"/>
                  </a:cxn>
                  <a:cxn ang="0">
                    <a:pos x="284" y="528"/>
                  </a:cxn>
                  <a:cxn ang="0">
                    <a:pos x="254" y="506"/>
                  </a:cxn>
                  <a:cxn ang="0">
                    <a:pos x="238" y="467"/>
                  </a:cxn>
                  <a:cxn ang="0">
                    <a:pos x="152" y="401"/>
                  </a:cxn>
                  <a:cxn ang="0">
                    <a:pos x="119" y="361"/>
                  </a:cxn>
                  <a:cxn ang="0">
                    <a:pos x="75" y="390"/>
                  </a:cxn>
                  <a:cxn ang="0">
                    <a:pos x="54" y="361"/>
                  </a:cxn>
                  <a:cxn ang="0">
                    <a:pos x="8" y="350"/>
                  </a:cxn>
                  <a:cxn ang="0">
                    <a:pos x="8" y="271"/>
                  </a:cxn>
                  <a:cxn ang="0">
                    <a:pos x="64" y="235"/>
                  </a:cxn>
                  <a:cxn ang="0">
                    <a:pos x="54" y="115"/>
                  </a:cxn>
                  <a:cxn ang="0">
                    <a:pos x="64" y="105"/>
                  </a:cxn>
                  <a:cxn ang="0">
                    <a:pos x="109" y="79"/>
                  </a:cxn>
                  <a:cxn ang="0">
                    <a:pos x="119" y="105"/>
                  </a:cxn>
                  <a:cxn ang="0">
                    <a:pos x="174" y="79"/>
                  </a:cxn>
                  <a:cxn ang="0">
                    <a:pos x="161" y="43"/>
                  </a:cxn>
                  <a:cxn ang="0">
                    <a:pos x="186" y="43"/>
                  </a:cxn>
                  <a:cxn ang="0">
                    <a:pos x="229" y="0"/>
                  </a:cxn>
                  <a:cxn ang="0">
                    <a:pos x="254" y="24"/>
                  </a:cxn>
                  <a:cxn ang="0">
                    <a:pos x="254" y="89"/>
                  </a:cxn>
                  <a:cxn ang="0">
                    <a:pos x="293" y="79"/>
                  </a:cxn>
                  <a:cxn ang="0">
                    <a:pos x="318" y="79"/>
                  </a:cxn>
                  <a:cxn ang="0">
                    <a:pos x="348" y="79"/>
                  </a:cxn>
                  <a:cxn ang="0">
                    <a:pos x="395" y="24"/>
                  </a:cxn>
                </a:cxnLst>
                <a:rect l="0" t="0" r="r" b="b"/>
                <a:pathLst>
                  <a:path w="701" h="956">
                    <a:moveTo>
                      <a:pt x="395" y="24"/>
                    </a:moveTo>
                    <a:lnTo>
                      <a:pt x="406" y="43"/>
                    </a:lnTo>
                    <a:lnTo>
                      <a:pt x="415" y="79"/>
                    </a:lnTo>
                    <a:lnTo>
                      <a:pt x="425" y="89"/>
                    </a:lnTo>
                    <a:lnTo>
                      <a:pt x="425" y="105"/>
                    </a:lnTo>
                    <a:lnTo>
                      <a:pt x="406" y="134"/>
                    </a:lnTo>
                    <a:lnTo>
                      <a:pt x="406" y="155"/>
                    </a:lnTo>
                    <a:lnTo>
                      <a:pt x="415" y="170"/>
                    </a:lnTo>
                    <a:lnTo>
                      <a:pt x="415" y="144"/>
                    </a:lnTo>
                    <a:lnTo>
                      <a:pt x="446" y="134"/>
                    </a:lnTo>
                    <a:lnTo>
                      <a:pt x="461" y="134"/>
                    </a:lnTo>
                    <a:lnTo>
                      <a:pt x="446" y="170"/>
                    </a:lnTo>
                    <a:lnTo>
                      <a:pt x="461" y="144"/>
                    </a:lnTo>
                    <a:lnTo>
                      <a:pt x="470" y="144"/>
                    </a:lnTo>
                    <a:lnTo>
                      <a:pt x="505" y="155"/>
                    </a:lnTo>
                    <a:lnTo>
                      <a:pt x="514" y="170"/>
                    </a:lnTo>
                    <a:lnTo>
                      <a:pt x="525" y="170"/>
                    </a:lnTo>
                    <a:lnTo>
                      <a:pt x="525" y="180"/>
                    </a:lnTo>
                    <a:lnTo>
                      <a:pt x="525" y="194"/>
                    </a:lnTo>
                    <a:lnTo>
                      <a:pt x="547" y="180"/>
                    </a:lnTo>
                    <a:lnTo>
                      <a:pt x="581" y="206"/>
                    </a:lnTo>
                    <a:lnTo>
                      <a:pt x="614" y="194"/>
                    </a:lnTo>
                    <a:lnTo>
                      <a:pt x="669" y="245"/>
                    </a:lnTo>
                    <a:lnTo>
                      <a:pt x="691" y="259"/>
                    </a:lnTo>
                    <a:lnTo>
                      <a:pt x="701" y="300"/>
                    </a:lnTo>
                    <a:lnTo>
                      <a:pt x="701" y="325"/>
                    </a:lnTo>
                    <a:lnTo>
                      <a:pt x="691" y="361"/>
                    </a:lnTo>
                    <a:lnTo>
                      <a:pt x="636" y="451"/>
                    </a:lnTo>
                    <a:lnTo>
                      <a:pt x="636" y="556"/>
                    </a:lnTo>
                    <a:lnTo>
                      <a:pt x="636" y="568"/>
                    </a:lnTo>
                    <a:lnTo>
                      <a:pt x="636" y="607"/>
                    </a:lnTo>
                    <a:lnTo>
                      <a:pt x="614" y="647"/>
                    </a:lnTo>
                    <a:lnTo>
                      <a:pt x="614" y="658"/>
                    </a:lnTo>
                    <a:lnTo>
                      <a:pt x="593" y="673"/>
                    </a:lnTo>
                    <a:lnTo>
                      <a:pt x="593" y="683"/>
                    </a:lnTo>
                    <a:lnTo>
                      <a:pt x="547" y="683"/>
                    </a:lnTo>
                    <a:lnTo>
                      <a:pt x="547" y="698"/>
                    </a:lnTo>
                    <a:lnTo>
                      <a:pt x="538" y="698"/>
                    </a:lnTo>
                    <a:lnTo>
                      <a:pt x="538" y="709"/>
                    </a:lnTo>
                    <a:lnTo>
                      <a:pt x="525" y="709"/>
                    </a:lnTo>
                    <a:lnTo>
                      <a:pt x="514" y="723"/>
                    </a:lnTo>
                    <a:lnTo>
                      <a:pt x="483" y="763"/>
                    </a:lnTo>
                    <a:lnTo>
                      <a:pt x="492" y="829"/>
                    </a:lnTo>
                    <a:lnTo>
                      <a:pt x="470" y="850"/>
                    </a:lnTo>
                    <a:lnTo>
                      <a:pt x="461" y="894"/>
                    </a:lnTo>
                    <a:lnTo>
                      <a:pt x="437" y="918"/>
                    </a:lnTo>
                    <a:lnTo>
                      <a:pt x="425" y="956"/>
                    </a:lnTo>
                    <a:lnTo>
                      <a:pt x="425" y="930"/>
                    </a:lnTo>
                    <a:lnTo>
                      <a:pt x="415" y="904"/>
                    </a:lnTo>
                    <a:lnTo>
                      <a:pt x="370" y="875"/>
                    </a:lnTo>
                    <a:lnTo>
                      <a:pt x="370" y="894"/>
                    </a:lnTo>
                    <a:lnTo>
                      <a:pt x="348" y="865"/>
                    </a:lnTo>
                    <a:lnTo>
                      <a:pt x="339" y="865"/>
                    </a:lnTo>
                    <a:lnTo>
                      <a:pt x="385" y="803"/>
                    </a:lnTo>
                    <a:lnTo>
                      <a:pt x="395" y="784"/>
                    </a:lnTo>
                    <a:lnTo>
                      <a:pt x="385" y="748"/>
                    </a:lnTo>
                    <a:lnTo>
                      <a:pt x="370" y="748"/>
                    </a:lnTo>
                    <a:lnTo>
                      <a:pt x="370" y="709"/>
                    </a:lnTo>
                    <a:lnTo>
                      <a:pt x="348" y="709"/>
                    </a:lnTo>
                    <a:lnTo>
                      <a:pt x="348" y="673"/>
                    </a:lnTo>
                    <a:lnTo>
                      <a:pt x="339" y="673"/>
                    </a:lnTo>
                    <a:lnTo>
                      <a:pt x="305" y="658"/>
                    </a:lnTo>
                    <a:lnTo>
                      <a:pt x="293" y="618"/>
                    </a:lnTo>
                    <a:lnTo>
                      <a:pt x="305" y="568"/>
                    </a:lnTo>
                    <a:lnTo>
                      <a:pt x="284" y="542"/>
                    </a:lnTo>
                    <a:lnTo>
                      <a:pt x="284" y="528"/>
                    </a:lnTo>
                    <a:lnTo>
                      <a:pt x="254" y="517"/>
                    </a:lnTo>
                    <a:lnTo>
                      <a:pt x="254" y="506"/>
                    </a:lnTo>
                    <a:lnTo>
                      <a:pt x="254" y="491"/>
                    </a:lnTo>
                    <a:lnTo>
                      <a:pt x="238" y="467"/>
                    </a:lnTo>
                    <a:lnTo>
                      <a:pt x="161" y="426"/>
                    </a:lnTo>
                    <a:lnTo>
                      <a:pt x="152" y="401"/>
                    </a:lnTo>
                    <a:lnTo>
                      <a:pt x="152" y="361"/>
                    </a:lnTo>
                    <a:lnTo>
                      <a:pt x="119" y="361"/>
                    </a:lnTo>
                    <a:lnTo>
                      <a:pt x="97" y="401"/>
                    </a:lnTo>
                    <a:lnTo>
                      <a:pt x="75" y="390"/>
                    </a:lnTo>
                    <a:lnTo>
                      <a:pt x="54" y="390"/>
                    </a:lnTo>
                    <a:lnTo>
                      <a:pt x="54" y="361"/>
                    </a:lnTo>
                    <a:lnTo>
                      <a:pt x="30" y="372"/>
                    </a:lnTo>
                    <a:lnTo>
                      <a:pt x="8" y="350"/>
                    </a:lnTo>
                    <a:lnTo>
                      <a:pt x="0" y="311"/>
                    </a:lnTo>
                    <a:lnTo>
                      <a:pt x="8" y="271"/>
                    </a:lnTo>
                    <a:lnTo>
                      <a:pt x="20" y="245"/>
                    </a:lnTo>
                    <a:lnTo>
                      <a:pt x="64" y="235"/>
                    </a:lnTo>
                    <a:lnTo>
                      <a:pt x="64" y="155"/>
                    </a:lnTo>
                    <a:lnTo>
                      <a:pt x="54" y="115"/>
                    </a:lnTo>
                    <a:lnTo>
                      <a:pt x="75" y="115"/>
                    </a:lnTo>
                    <a:lnTo>
                      <a:pt x="64" y="105"/>
                    </a:lnTo>
                    <a:lnTo>
                      <a:pt x="64" y="89"/>
                    </a:lnTo>
                    <a:lnTo>
                      <a:pt x="109" y="79"/>
                    </a:lnTo>
                    <a:lnTo>
                      <a:pt x="119" y="89"/>
                    </a:lnTo>
                    <a:lnTo>
                      <a:pt x="119" y="105"/>
                    </a:lnTo>
                    <a:lnTo>
                      <a:pt x="140" y="105"/>
                    </a:lnTo>
                    <a:lnTo>
                      <a:pt x="174" y="79"/>
                    </a:lnTo>
                    <a:lnTo>
                      <a:pt x="161" y="64"/>
                    </a:lnTo>
                    <a:lnTo>
                      <a:pt x="161" y="43"/>
                    </a:lnTo>
                    <a:lnTo>
                      <a:pt x="152" y="24"/>
                    </a:lnTo>
                    <a:lnTo>
                      <a:pt x="186" y="43"/>
                    </a:lnTo>
                    <a:lnTo>
                      <a:pt x="229" y="14"/>
                    </a:lnTo>
                    <a:lnTo>
                      <a:pt x="229" y="0"/>
                    </a:lnTo>
                    <a:lnTo>
                      <a:pt x="238" y="0"/>
                    </a:lnTo>
                    <a:lnTo>
                      <a:pt x="254" y="24"/>
                    </a:lnTo>
                    <a:lnTo>
                      <a:pt x="238" y="64"/>
                    </a:lnTo>
                    <a:lnTo>
                      <a:pt x="254" y="89"/>
                    </a:lnTo>
                    <a:lnTo>
                      <a:pt x="263" y="89"/>
                    </a:lnTo>
                    <a:lnTo>
                      <a:pt x="293" y="79"/>
                    </a:lnTo>
                    <a:lnTo>
                      <a:pt x="305" y="79"/>
                    </a:lnTo>
                    <a:lnTo>
                      <a:pt x="318" y="79"/>
                    </a:lnTo>
                    <a:lnTo>
                      <a:pt x="318" y="64"/>
                    </a:lnTo>
                    <a:lnTo>
                      <a:pt x="348" y="79"/>
                    </a:lnTo>
                    <a:lnTo>
                      <a:pt x="370" y="79"/>
                    </a:lnTo>
                    <a:lnTo>
                      <a:pt x="395" y="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6" name="Freeform 277">
                <a:extLst>
                  <a:ext uri="{FF2B5EF4-FFF2-40B4-BE49-F238E27FC236}">
                    <a16:creationId xmlns:a16="http://schemas.microsoft.com/office/drawing/2014/main" id="{03F74F63-C93B-417A-A856-D4EE06691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9682" y="5946556"/>
                <a:ext cx="137495" cy="83041"/>
              </a:xfrm>
              <a:custGeom>
                <a:avLst/>
                <a:gdLst/>
                <a:ahLst/>
                <a:cxnLst>
                  <a:cxn ang="0">
                    <a:pos x="63" y="0"/>
                  </a:cxn>
                  <a:cxn ang="0">
                    <a:pos x="101" y="61"/>
                  </a:cxn>
                  <a:cxn ang="0">
                    <a:pos x="76" y="61"/>
                  </a:cxn>
                  <a:cxn ang="0">
                    <a:pos x="76" y="50"/>
                  </a:cxn>
                  <a:cxn ang="0">
                    <a:pos x="54" y="50"/>
                  </a:cxn>
                  <a:cxn ang="0">
                    <a:pos x="24" y="36"/>
                  </a:cxn>
                  <a:cxn ang="0">
                    <a:pos x="9" y="36"/>
                  </a:cxn>
                  <a:cxn ang="0">
                    <a:pos x="0" y="24"/>
                  </a:cxn>
                  <a:cxn ang="0">
                    <a:pos x="0" y="10"/>
                  </a:cxn>
                  <a:cxn ang="0">
                    <a:pos x="54" y="36"/>
                  </a:cxn>
                  <a:cxn ang="0">
                    <a:pos x="54" y="24"/>
                  </a:cxn>
                  <a:cxn ang="0">
                    <a:pos x="63" y="10"/>
                  </a:cxn>
                  <a:cxn ang="0">
                    <a:pos x="54" y="10"/>
                  </a:cxn>
                  <a:cxn ang="0">
                    <a:pos x="42" y="0"/>
                  </a:cxn>
                  <a:cxn ang="0">
                    <a:pos x="63" y="0"/>
                  </a:cxn>
                </a:cxnLst>
                <a:rect l="0" t="0" r="r" b="b"/>
                <a:pathLst>
                  <a:path w="101" h="61">
                    <a:moveTo>
                      <a:pt x="63" y="0"/>
                    </a:moveTo>
                    <a:lnTo>
                      <a:pt x="101" y="61"/>
                    </a:lnTo>
                    <a:lnTo>
                      <a:pt x="76" y="61"/>
                    </a:lnTo>
                    <a:lnTo>
                      <a:pt x="76" y="50"/>
                    </a:lnTo>
                    <a:lnTo>
                      <a:pt x="54" y="50"/>
                    </a:lnTo>
                    <a:lnTo>
                      <a:pt x="24" y="36"/>
                    </a:lnTo>
                    <a:lnTo>
                      <a:pt x="9" y="36"/>
                    </a:lnTo>
                    <a:lnTo>
                      <a:pt x="0" y="24"/>
                    </a:lnTo>
                    <a:lnTo>
                      <a:pt x="0" y="10"/>
                    </a:lnTo>
                    <a:lnTo>
                      <a:pt x="54" y="36"/>
                    </a:lnTo>
                    <a:lnTo>
                      <a:pt x="54" y="24"/>
                    </a:lnTo>
                    <a:lnTo>
                      <a:pt x="63" y="10"/>
                    </a:lnTo>
                    <a:lnTo>
                      <a:pt x="54" y="10"/>
                    </a:lnTo>
                    <a:lnTo>
                      <a:pt x="42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7" name="Freeform 287">
                <a:extLst>
                  <a:ext uri="{FF2B5EF4-FFF2-40B4-BE49-F238E27FC236}">
                    <a16:creationId xmlns:a16="http://schemas.microsoft.com/office/drawing/2014/main" id="{252C9805-14A1-4DC2-B015-6834A2445A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3041" y="4010734"/>
                <a:ext cx="62621" cy="123881"/>
              </a:xfrm>
              <a:custGeom>
                <a:avLst/>
                <a:gdLst/>
                <a:ahLst/>
                <a:cxnLst>
                  <a:cxn ang="0">
                    <a:pos x="46" y="36"/>
                  </a:cxn>
                  <a:cxn ang="0">
                    <a:pos x="0" y="0"/>
                  </a:cxn>
                  <a:cxn ang="0">
                    <a:pos x="0" y="25"/>
                  </a:cxn>
                  <a:cxn ang="0">
                    <a:pos x="0" y="54"/>
                  </a:cxn>
                  <a:cxn ang="0">
                    <a:pos x="0" y="91"/>
                  </a:cxn>
                  <a:cxn ang="0">
                    <a:pos x="21" y="91"/>
                  </a:cxn>
                  <a:cxn ang="0">
                    <a:pos x="46" y="36"/>
                  </a:cxn>
                </a:cxnLst>
                <a:rect l="0" t="0" r="r" b="b"/>
                <a:pathLst>
                  <a:path w="46" h="91">
                    <a:moveTo>
                      <a:pt x="46" y="36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0" y="54"/>
                    </a:lnTo>
                    <a:lnTo>
                      <a:pt x="0" y="91"/>
                    </a:lnTo>
                    <a:lnTo>
                      <a:pt x="21" y="91"/>
                    </a:lnTo>
                    <a:lnTo>
                      <a:pt x="46" y="3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8" name="Freeform 289">
                <a:extLst>
                  <a:ext uri="{FF2B5EF4-FFF2-40B4-BE49-F238E27FC236}">
                    <a16:creationId xmlns:a16="http://schemas.microsoft.com/office/drawing/2014/main" id="{0EA0E93E-0A34-40BD-BFAE-41E4E48D0C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916" y="4010734"/>
                <a:ext cx="85764" cy="123881"/>
              </a:xfrm>
              <a:custGeom>
                <a:avLst/>
                <a:gdLst/>
                <a:ahLst/>
                <a:cxnLst>
                  <a:cxn ang="0">
                    <a:pos x="63" y="0"/>
                  </a:cxn>
                  <a:cxn ang="0">
                    <a:pos x="63" y="25"/>
                  </a:cxn>
                  <a:cxn ang="0">
                    <a:pos x="63" y="54"/>
                  </a:cxn>
                  <a:cxn ang="0">
                    <a:pos x="63" y="91"/>
                  </a:cxn>
                  <a:cxn ang="0">
                    <a:pos x="33" y="76"/>
                  </a:cxn>
                  <a:cxn ang="0">
                    <a:pos x="33" y="91"/>
                  </a:cxn>
                  <a:cxn ang="0">
                    <a:pos x="21" y="91"/>
                  </a:cxn>
                  <a:cxn ang="0">
                    <a:pos x="0" y="36"/>
                  </a:cxn>
                  <a:cxn ang="0">
                    <a:pos x="9" y="0"/>
                  </a:cxn>
                  <a:cxn ang="0">
                    <a:pos x="53" y="0"/>
                  </a:cxn>
                  <a:cxn ang="0">
                    <a:pos x="63" y="0"/>
                  </a:cxn>
                </a:cxnLst>
                <a:rect l="0" t="0" r="r" b="b"/>
                <a:pathLst>
                  <a:path w="63" h="91">
                    <a:moveTo>
                      <a:pt x="63" y="0"/>
                    </a:moveTo>
                    <a:lnTo>
                      <a:pt x="63" y="25"/>
                    </a:lnTo>
                    <a:lnTo>
                      <a:pt x="63" y="54"/>
                    </a:lnTo>
                    <a:lnTo>
                      <a:pt x="63" y="91"/>
                    </a:lnTo>
                    <a:lnTo>
                      <a:pt x="33" y="76"/>
                    </a:lnTo>
                    <a:lnTo>
                      <a:pt x="33" y="91"/>
                    </a:lnTo>
                    <a:lnTo>
                      <a:pt x="21" y="91"/>
                    </a:lnTo>
                    <a:lnTo>
                      <a:pt x="0" y="36"/>
                    </a:lnTo>
                    <a:lnTo>
                      <a:pt x="9" y="0"/>
                    </a:lnTo>
                    <a:lnTo>
                      <a:pt x="53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9" name="Freeform 293">
                <a:extLst>
                  <a:ext uri="{FF2B5EF4-FFF2-40B4-BE49-F238E27FC236}">
                    <a16:creationId xmlns:a16="http://schemas.microsoft.com/office/drawing/2014/main" id="{88B8A80B-85B5-47C9-8517-DF77EA0187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398" y="4519875"/>
                <a:ext cx="311745" cy="438350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9" y="65"/>
                  </a:cxn>
                  <a:cxn ang="0">
                    <a:pos x="9" y="155"/>
                  </a:cxn>
                  <a:cxn ang="0">
                    <a:pos x="21" y="166"/>
                  </a:cxn>
                  <a:cxn ang="0">
                    <a:pos x="9" y="195"/>
                  </a:cxn>
                  <a:cxn ang="0">
                    <a:pos x="34" y="232"/>
                  </a:cxn>
                  <a:cxn ang="0">
                    <a:pos x="34" y="256"/>
                  </a:cxn>
                  <a:cxn ang="0">
                    <a:pos x="55" y="322"/>
                  </a:cxn>
                  <a:cxn ang="0">
                    <a:pos x="64" y="322"/>
                  </a:cxn>
                  <a:cxn ang="0">
                    <a:pos x="85" y="297"/>
                  </a:cxn>
                  <a:cxn ang="0">
                    <a:pos x="120" y="311"/>
                  </a:cxn>
                  <a:cxn ang="0">
                    <a:pos x="140" y="311"/>
                  </a:cxn>
                  <a:cxn ang="0">
                    <a:pos x="153" y="245"/>
                  </a:cxn>
                  <a:cxn ang="0">
                    <a:pos x="208" y="232"/>
                  </a:cxn>
                  <a:cxn ang="0">
                    <a:pos x="217" y="256"/>
                  </a:cxn>
                  <a:cxn ang="0">
                    <a:pos x="229" y="206"/>
                  </a:cxn>
                  <a:cxn ang="0">
                    <a:pos x="208" y="180"/>
                  </a:cxn>
                  <a:cxn ang="0">
                    <a:pos x="208" y="166"/>
                  </a:cxn>
                  <a:cxn ang="0">
                    <a:pos x="178" y="155"/>
                  </a:cxn>
                  <a:cxn ang="0">
                    <a:pos x="178" y="144"/>
                  </a:cxn>
                  <a:cxn ang="0">
                    <a:pos x="178" y="130"/>
                  </a:cxn>
                  <a:cxn ang="0">
                    <a:pos x="162" y="105"/>
                  </a:cxn>
                  <a:cxn ang="0">
                    <a:pos x="85" y="65"/>
                  </a:cxn>
                  <a:cxn ang="0">
                    <a:pos x="76" y="39"/>
                  </a:cxn>
                  <a:cxn ang="0">
                    <a:pos x="76" y="0"/>
                  </a:cxn>
                  <a:cxn ang="0">
                    <a:pos x="43" y="0"/>
                  </a:cxn>
                  <a:cxn ang="0">
                    <a:pos x="21" y="39"/>
                  </a:cxn>
                  <a:cxn ang="0">
                    <a:pos x="0" y="28"/>
                  </a:cxn>
                </a:cxnLst>
                <a:rect l="0" t="0" r="r" b="b"/>
                <a:pathLst>
                  <a:path w="229" h="322">
                    <a:moveTo>
                      <a:pt x="0" y="28"/>
                    </a:moveTo>
                    <a:lnTo>
                      <a:pt x="9" y="65"/>
                    </a:lnTo>
                    <a:lnTo>
                      <a:pt x="9" y="155"/>
                    </a:lnTo>
                    <a:lnTo>
                      <a:pt x="21" y="166"/>
                    </a:lnTo>
                    <a:lnTo>
                      <a:pt x="9" y="195"/>
                    </a:lnTo>
                    <a:lnTo>
                      <a:pt x="34" y="232"/>
                    </a:lnTo>
                    <a:lnTo>
                      <a:pt x="34" y="256"/>
                    </a:lnTo>
                    <a:lnTo>
                      <a:pt x="55" y="322"/>
                    </a:lnTo>
                    <a:lnTo>
                      <a:pt x="64" y="322"/>
                    </a:lnTo>
                    <a:lnTo>
                      <a:pt x="85" y="297"/>
                    </a:lnTo>
                    <a:lnTo>
                      <a:pt x="120" y="311"/>
                    </a:lnTo>
                    <a:lnTo>
                      <a:pt x="140" y="311"/>
                    </a:lnTo>
                    <a:lnTo>
                      <a:pt x="153" y="245"/>
                    </a:lnTo>
                    <a:lnTo>
                      <a:pt x="208" y="232"/>
                    </a:lnTo>
                    <a:lnTo>
                      <a:pt x="217" y="256"/>
                    </a:lnTo>
                    <a:lnTo>
                      <a:pt x="229" y="206"/>
                    </a:lnTo>
                    <a:lnTo>
                      <a:pt x="208" y="180"/>
                    </a:lnTo>
                    <a:lnTo>
                      <a:pt x="208" y="166"/>
                    </a:lnTo>
                    <a:lnTo>
                      <a:pt x="178" y="155"/>
                    </a:lnTo>
                    <a:lnTo>
                      <a:pt x="178" y="144"/>
                    </a:lnTo>
                    <a:lnTo>
                      <a:pt x="178" y="130"/>
                    </a:lnTo>
                    <a:lnTo>
                      <a:pt x="162" y="105"/>
                    </a:lnTo>
                    <a:lnTo>
                      <a:pt x="85" y="65"/>
                    </a:lnTo>
                    <a:lnTo>
                      <a:pt x="76" y="39"/>
                    </a:lnTo>
                    <a:lnTo>
                      <a:pt x="76" y="0"/>
                    </a:lnTo>
                    <a:lnTo>
                      <a:pt x="43" y="0"/>
                    </a:lnTo>
                    <a:lnTo>
                      <a:pt x="21" y="39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0" name="Freeform 295">
                <a:extLst>
                  <a:ext uri="{FF2B5EF4-FFF2-40B4-BE49-F238E27FC236}">
                    <a16:creationId xmlns:a16="http://schemas.microsoft.com/office/drawing/2014/main" id="{DEBC6F7C-5FD0-4253-BDE6-CE6A51739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4707" y="4835705"/>
                <a:ext cx="206922" cy="284520"/>
              </a:xfrm>
              <a:custGeom>
                <a:avLst/>
                <a:gdLst/>
                <a:ahLst/>
                <a:cxnLst>
                  <a:cxn ang="0">
                    <a:pos x="152" y="154"/>
                  </a:cxn>
                  <a:cxn ang="0">
                    <a:pos x="152" y="180"/>
                  </a:cxn>
                  <a:cxn ang="0">
                    <a:pos x="142" y="209"/>
                  </a:cxn>
                  <a:cxn ang="0">
                    <a:pos x="130" y="209"/>
                  </a:cxn>
                  <a:cxn ang="0">
                    <a:pos x="88" y="190"/>
                  </a:cxn>
                  <a:cxn ang="0">
                    <a:pos x="100" y="168"/>
                  </a:cxn>
                  <a:cxn ang="0">
                    <a:pos x="100" y="144"/>
                  </a:cxn>
                  <a:cxn ang="0">
                    <a:pos x="66" y="129"/>
                  </a:cxn>
                  <a:cxn ang="0">
                    <a:pos x="46" y="115"/>
                  </a:cxn>
                  <a:cxn ang="0">
                    <a:pos x="0" y="79"/>
                  </a:cxn>
                  <a:cxn ang="0">
                    <a:pos x="12" y="13"/>
                  </a:cxn>
                  <a:cxn ang="0">
                    <a:pos x="66" y="0"/>
                  </a:cxn>
                  <a:cxn ang="0">
                    <a:pos x="76" y="24"/>
                  </a:cxn>
                  <a:cxn ang="0">
                    <a:pos x="88" y="64"/>
                  </a:cxn>
                  <a:cxn ang="0">
                    <a:pos x="121" y="79"/>
                  </a:cxn>
                  <a:cxn ang="0">
                    <a:pos x="130" y="79"/>
                  </a:cxn>
                  <a:cxn ang="0">
                    <a:pos x="130" y="115"/>
                  </a:cxn>
                  <a:cxn ang="0">
                    <a:pos x="152" y="115"/>
                  </a:cxn>
                  <a:cxn ang="0">
                    <a:pos x="152" y="154"/>
                  </a:cxn>
                </a:cxnLst>
                <a:rect l="0" t="0" r="r" b="b"/>
                <a:pathLst>
                  <a:path w="152" h="209">
                    <a:moveTo>
                      <a:pt x="152" y="154"/>
                    </a:moveTo>
                    <a:lnTo>
                      <a:pt x="152" y="180"/>
                    </a:lnTo>
                    <a:lnTo>
                      <a:pt x="142" y="209"/>
                    </a:lnTo>
                    <a:lnTo>
                      <a:pt x="130" y="209"/>
                    </a:lnTo>
                    <a:lnTo>
                      <a:pt x="88" y="190"/>
                    </a:lnTo>
                    <a:lnTo>
                      <a:pt x="100" y="168"/>
                    </a:lnTo>
                    <a:lnTo>
                      <a:pt x="100" y="144"/>
                    </a:lnTo>
                    <a:lnTo>
                      <a:pt x="66" y="129"/>
                    </a:lnTo>
                    <a:lnTo>
                      <a:pt x="46" y="115"/>
                    </a:lnTo>
                    <a:lnTo>
                      <a:pt x="0" y="79"/>
                    </a:lnTo>
                    <a:lnTo>
                      <a:pt x="12" y="13"/>
                    </a:lnTo>
                    <a:lnTo>
                      <a:pt x="66" y="0"/>
                    </a:lnTo>
                    <a:lnTo>
                      <a:pt x="76" y="24"/>
                    </a:lnTo>
                    <a:lnTo>
                      <a:pt x="88" y="64"/>
                    </a:lnTo>
                    <a:lnTo>
                      <a:pt x="121" y="79"/>
                    </a:lnTo>
                    <a:lnTo>
                      <a:pt x="130" y="79"/>
                    </a:lnTo>
                    <a:lnTo>
                      <a:pt x="130" y="115"/>
                    </a:lnTo>
                    <a:lnTo>
                      <a:pt x="152" y="115"/>
                    </a:lnTo>
                    <a:lnTo>
                      <a:pt x="152" y="15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1" name="Freeform 297">
                <a:extLst>
                  <a:ext uri="{FF2B5EF4-FFF2-40B4-BE49-F238E27FC236}">
                    <a16:creationId xmlns:a16="http://schemas.microsoft.com/office/drawing/2014/main" id="{6BBE68D5-BBFC-4F34-8A07-B299B4760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9935" y="4924191"/>
                <a:ext cx="375728" cy="996499"/>
              </a:xfrm>
              <a:custGeom>
                <a:avLst/>
                <a:gdLst/>
                <a:ahLst/>
                <a:cxnLst>
                  <a:cxn ang="0">
                    <a:pos x="266" y="144"/>
                  </a:cxn>
                  <a:cxn ang="0">
                    <a:pos x="266" y="89"/>
                  </a:cxn>
                  <a:cxn ang="0">
                    <a:pos x="251" y="115"/>
                  </a:cxn>
                  <a:cxn ang="0">
                    <a:pos x="229" y="144"/>
                  </a:cxn>
                  <a:cxn ang="0">
                    <a:pos x="199" y="104"/>
                  </a:cxn>
                  <a:cxn ang="0">
                    <a:pos x="165" y="65"/>
                  </a:cxn>
                  <a:cxn ang="0">
                    <a:pos x="97" y="14"/>
                  </a:cxn>
                  <a:cxn ang="0">
                    <a:pos x="42" y="0"/>
                  </a:cxn>
                  <a:cxn ang="0">
                    <a:pos x="20" y="50"/>
                  </a:cxn>
                  <a:cxn ang="0">
                    <a:pos x="12" y="115"/>
                  </a:cxn>
                  <a:cxn ang="0">
                    <a:pos x="0" y="235"/>
                  </a:cxn>
                  <a:cxn ang="0">
                    <a:pos x="12" y="336"/>
                  </a:cxn>
                  <a:cxn ang="0">
                    <a:pos x="12" y="372"/>
                  </a:cxn>
                  <a:cxn ang="0">
                    <a:pos x="33" y="474"/>
                  </a:cxn>
                  <a:cxn ang="0">
                    <a:pos x="42" y="518"/>
                  </a:cxn>
                  <a:cxn ang="0">
                    <a:pos x="67" y="568"/>
                  </a:cxn>
                  <a:cxn ang="0">
                    <a:pos x="76" y="609"/>
                  </a:cxn>
                  <a:cxn ang="0">
                    <a:pos x="88" y="695"/>
                  </a:cxn>
                  <a:cxn ang="0">
                    <a:pos x="119" y="732"/>
                  </a:cxn>
                  <a:cxn ang="0">
                    <a:pos x="186" y="732"/>
                  </a:cxn>
                  <a:cxn ang="0">
                    <a:pos x="152" y="695"/>
                  </a:cxn>
                  <a:cxn ang="0">
                    <a:pos x="165" y="659"/>
                  </a:cxn>
                  <a:cxn ang="0">
                    <a:pos x="174" y="619"/>
                  </a:cxn>
                  <a:cxn ang="0">
                    <a:pos x="144" y="609"/>
                  </a:cxn>
                  <a:cxn ang="0">
                    <a:pos x="144" y="568"/>
                  </a:cxn>
                  <a:cxn ang="0">
                    <a:pos x="165" y="554"/>
                  </a:cxn>
                  <a:cxn ang="0">
                    <a:pos x="174" y="518"/>
                  </a:cxn>
                  <a:cxn ang="0">
                    <a:pos x="165" y="503"/>
                  </a:cxn>
                  <a:cxn ang="0">
                    <a:pos x="186" y="518"/>
                  </a:cxn>
                  <a:cxn ang="0">
                    <a:pos x="174" y="492"/>
                  </a:cxn>
                  <a:cxn ang="0">
                    <a:pos x="152" y="492"/>
                  </a:cxn>
                  <a:cxn ang="0">
                    <a:pos x="165" y="474"/>
                  </a:cxn>
                  <a:cxn ang="0">
                    <a:pos x="186" y="427"/>
                  </a:cxn>
                  <a:cxn ang="0">
                    <a:pos x="251" y="401"/>
                  </a:cxn>
                  <a:cxn ang="0">
                    <a:pos x="266" y="362"/>
                  </a:cxn>
                  <a:cxn ang="0">
                    <a:pos x="251" y="336"/>
                  </a:cxn>
                  <a:cxn ang="0">
                    <a:pos x="220" y="297"/>
                  </a:cxn>
                </a:cxnLst>
                <a:rect l="0" t="0" r="r" b="b"/>
                <a:pathLst>
                  <a:path w="276" h="732">
                    <a:moveTo>
                      <a:pt x="220" y="206"/>
                    </a:moveTo>
                    <a:lnTo>
                      <a:pt x="266" y="144"/>
                    </a:lnTo>
                    <a:lnTo>
                      <a:pt x="276" y="125"/>
                    </a:lnTo>
                    <a:lnTo>
                      <a:pt x="266" y="89"/>
                    </a:lnTo>
                    <a:lnTo>
                      <a:pt x="251" y="89"/>
                    </a:lnTo>
                    <a:lnTo>
                      <a:pt x="251" y="115"/>
                    </a:lnTo>
                    <a:lnTo>
                      <a:pt x="241" y="144"/>
                    </a:lnTo>
                    <a:lnTo>
                      <a:pt x="229" y="144"/>
                    </a:lnTo>
                    <a:lnTo>
                      <a:pt x="186" y="125"/>
                    </a:lnTo>
                    <a:lnTo>
                      <a:pt x="199" y="104"/>
                    </a:lnTo>
                    <a:lnTo>
                      <a:pt x="199" y="79"/>
                    </a:lnTo>
                    <a:lnTo>
                      <a:pt x="165" y="65"/>
                    </a:lnTo>
                    <a:lnTo>
                      <a:pt x="144" y="50"/>
                    </a:lnTo>
                    <a:lnTo>
                      <a:pt x="97" y="14"/>
                    </a:lnTo>
                    <a:lnTo>
                      <a:pt x="76" y="14"/>
                    </a:lnTo>
                    <a:lnTo>
                      <a:pt x="42" y="0"/>
                    </a:lnTo>
                    <a:lnTo>
                      <a:pt x="20" y="24"/>
                    </a:lnTo>
                    <a:lnTo>
                      <a:pt x="20" y="50"/>
                    </a:lnTo>
                    <a:lnTo>
                      <a:pt x="0" y="65"/>
                    </a:lnTo>
                    <a:lnTo>
                      <a:pt x="12" y="115"/>
                    </a:lnTo>
                    <a:lnTo>
                      <a:pt x="0" y="155"/>
                    </a:lnTo>
                    <a:lnTo>
                      <a:pt x="0" y="235"/>
                    </a:lnTo>
                    <a:lnTo>
                      <a:pt x="20" y="297"/>
                    </a:lnTo>
                    <a:lnTo>
                      <a:pt x="12" y="336"/>
                    </a:lnTo>
                    <a:lnTo>
                      <a:pt x="20" y="347"/>
                    </a:lnTo>
                    <a:lnTo>
                      <a:pt x="12" y="372"/>
                    </a:lnTo>
                    <a:lnTo>
                      <a:pt x="33" y="412"/>
                    </a:lnTo>
                    <a:lnTo>
                      <a:pt x="33" y="474"/>
                    </a:lnTo>
                    <a:lnTo>
                      <a:pt x="42" y="492"/>
                    </a:lnTo>
                    <a:lnTo>
                      <a:pt x="42" y="518"/>
                    </a:lnTo>
                    <a:lnTo>
                      <a:pt x="55" y="554"/>
                    </a:lnTo>
                    <a:lnTo>
                      <a:pt x="67" y="568"/>
                    </a:lnTo>
                    <a:lnTo>
                      <a:pt x="67" y="554"/>
                    </a:lnTo>
                    <a:lnTo>
                      <a:pt x="76" y="609"/>
                    </a:lnTo>
                    <a:lnTo>
                      <a:pt x="76" y="684"/>
                    </a:lnTo>
                    <a:lnTo>
                      <a:pt x="88" y="695"/>
                    </a:lnTo>
                    <a:lnTo>
                      <a:pt x="97" y="695"/>
                    </a:lnTo>
                    <a:lnTo>
                      <a:pt x="119" y="732"/>
                    </a:lnTo>
                    <a:lnTo>
                      <a:pt x="165" y="732"/>
                    </a:lnTo>
                    <a:lnTo>
                      <a:pt x="186" y="732"/>
                    </a:lnTo>
                    <a:lnTo>
                      <a:pt x="152" y="710"/>
                    </a:lnTo>
                    <a:lnTo>
                      <a:pt x="152" y="695"/>
                    </a:lnTo>
                    <a:lnTo>
                      <a:pt x="165" y="684"/>
                    </a:lnTo>
                    <a:lnTo>
                      <a:pt x="165" y="659"/>
                    </a:lnTo>
                    <a:lnTo>
                      <a:pt x="186" y="630"/>
                    </a:lnTo>
                    <a:lnTo>
                      <a:pt x="174" y="619"/>
                    </a:lnTo>
                    <a:lnTo>
                      <a:pt x="165" y="619"/>
                    </a:lnTo>
                    <a:lnTo>
                      <a:pt x="144" y="609"/>
                    </a:lnTo>
                    <a:lnTo>
                      <a:pt x="144" y="593"/>
                    </a:lnTo>
                    <a:lnTo>
                      <a:pt x="144" y="568"/>
                    </a:lnTo>
                    <a:lnTo>
                      <a:pt x="165" y="568"/>
                    </a:lnTo>
                    <a:lnTo>
                      <a:pt x="165" y="554"/>
                    </a:lnTo>
                    <a:lnTo>
                      <a:pt x="165" y="528"/>
                    </a:lnTo>
                    <a:lnTo>
                      <a:pt x="174" y="518"/>
                    </a:lnTo>
                    <a:lnTo>
                      <a:pt x="165" y="518"/>
                    </a:lnTo>
                    <a:lnTo>
                      <a:pt x="165" y="503"/>
                    </a:lnTo>
                    <a:lnTo>
                      <a:pt x="174" y="518"/>
                    </a:lnTo>
                    <a:lnTo>
                      <a:pt x="186" y="518"/>
                    </a:lnTo>
                    <a:lnTo>
                      <a:pt x="186" y="503"/>
                    </a:lnTo>
                    <a:lnTo>
                      <a:pt x="174" y="492"/>
                    </a:lnTo>
                    <a:lnTo>
                      <a:pt x="165" y="503"/>
                    </a:lnTo>
                    <a:lnTo>
                      <a:pt x="152" y="492"/>
                    </a:lnTo>
                    <a:lnTo>
                      <a:pt x="144" y="463"/>
                    </a:lnTo>
                    <a:lnTo>
                      <a:pt x="165" y="474"/>
                    </a:lnTo>
                    <a:lnTo>
                      <a:pt x="186" y="463"/>
                    </a:lnTo>
                    <a:lnTo>
                      <a:pt x="186" y="427"/>
                    </a:lnTo>
                    <a:lnTo>
                      <a:pt x="211" y="412"/>
                    </a:lnTo>
                    <a:lnTo>
                      <a:pt x="251" y="401"/>
                    </a:lnTo>
                    <a:lnTo>
                      <a:pt x="266" y="372"/>
                    </a:lnTo>
                    <a:lnTo>
                      <a:pt x="266" y="362"/>
                    </a:lnTo>
                    <a:lnTo>
                      <a:pt x="241" y="347"/>
                    </a:lnTo>
                    <a:lnTo>
                      <a:pt x="251" y="336"/>
                    </a:lnTo>
                    <a:lnTo>
                      <a:pt x="220" y="307"/>
                    </a:lnTo>
                    <a:lnTo>
                      <a:pt x="220" y="297"/>
                    </a:lnTo>
                    <a:lnTo>
                      <a:pt x="220" y="20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2" name="Freeform 299">
                <a:extLst>
                  <a:ext uri="{FF2B5EF4-FFF2-40B4-BE49-F238E27FC236}">
                    <a16:creationId xmlns:a16="http://schemas.microsoft.com/office/drawing/2014/main" id="{8E449500-4E6D-463C-A5D2-1B99FBB599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4707" y="3922247"/>
                <a:ext cx="121159" cy="22598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54" y="14"/>
                  </a:cxn>
                  <a:cxn ang="0">
                    <a:pos x="54" y="39"/>
                  </a:cxn>
                  <a:cxn ang="0">
                    <a:pos x="76" y="64"/>
                  </a:cxn>
                  <a:cxn ang="0">
                    <a:pos x="67" y="101"/>
                  </a:cxn>
                  <a:cxn ang="0">
                    <a:pos x="89" y="155"/>
                  </a:cxn>
                  <a:cxn ang="0">
                    <a:pos x="76" y="155"/>
                  </a:cxn>
                  <a:cxn ang="0">
                    <a:pos x="46" y="166"/>
                  </a:cxn>
                  <a:cxn ang="0">
                    <a:pos x="37" y="166"/>
                  </a:cxn>
                  <a:cxn ang="0">
                    <a:pos x="21" y="141"/>
                  </a:cxn>
                  <a:cxn ang="0">
                    <a:pos x="37" y="101"/>
                  </a:cxn>
                  <a:cxn ang="0">
                    <a:pos x="21" y="76"/>
                  </a:cxn>
                  <a:cxn ang="0">
                    <a:pos x="12" y="76"/>
                  </a:cxn>
                  <a:cxn ang="0">
                    <a:pos x="0" y="64"/>
                  </a:cxn>
                  <a:cxn ang="0">
                    <a:pos x="12" y="39"/>
                  </a:cxn>
                  <a:cxn ang="0">
                    <a:pos x="21" y="39"/>
                  </a:cxn>
                  <a:cxn ang="0">
                    <a:pos x="12" y="24"/>
                  </a:cxn>
                  <a:cxn ang="0">
                    <a:pos x="12" y="14"/>
                  </a:cxn>
                  <a:cxn ang="0">
                    <a:pos x="37" y="0"/>
                  </a:cxn>
                </a:cxnLst>
                <a:rect l="0" t="0" r="r" b="b"/>
                <a:pathLst>
                  <a:path w="89" h="166">
                    <a:moveTo>
                      <a:pt x="37" y="0"/>
                    </a:moveTo>
                    <a:lnTo>
                      <a:pt x="54" y="14"/>
                    </a:lnTo>
                    <a:lnTo>
                      <a:pt x="54" y="39"/>
                    </a:lnTo>
                    <a:lnTo>
                      <a:pt x="76" y="64"/>
                    </a:lnTo>
                    <a:lnTo>
                      <a:pt x="67" y="101"/>
                    </a:lnTo>
                    <a:lnTo>
                      <a:pt x="89" y="155"/>
                    </a:lnTo>
                    <a:lnTo>
                      <a:pt x="76" y="155"/>
                    </a:lnTo>
                    <a:lnTo>
                      <a:pt x="46" y="166"/>
                    </a:lnTo>
                    <a:lnTo>
                      <a:pt x="37" y="166"/>
                    </a:lnTo>
                    <a:lnTo>
                      <a:pt x="21" y="141"/>
                    </a:lnTo>
                    <a:lnTo>
                      <a:pt x="37" y="101"/>
                    </a:lnTo>
                    <a:lnTo>
                      <a:pt x="21" y="76"/>
                    </a:lnTo>
                    <a:lnTo>
                      <a:pt x="12" y="76"/>
                    </a:lnTo>
                    <a:lnTo>
                      <a:pt x="0" y="64"/>
                    </a:lnTo>
                    <a:lnTo>
                      <a:pt x="12" y="39"/>
                    </a:lnTo>
                    <a:lnTo>
                      <a:pt x="21" y="39"/>
                    </a:lnTo>
                    <a:lnTo>
                      <a:pt x="12" y="24"/>
                    </a:lnTo>
                    <a:lnTo>
                      <a:pt x="12" y="14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3" name="Freeform 327">
                <a:extLst>
                  <a:ext uri="{FF2B5EF4-FFF2-40B4-BE49-F238E27FC236}">
                    <a16:creationId xmlns:a16="http://schemas.microsoft.com/office/drawing/2014/main" id="{FA9A45D3-6A0E-49CD-80E7-E6196164ED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9022" y="6221546"/>
                <a:ext cx="61260" cy="39479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23" y="0"/>
                  </a:cxn>
                  <a:cxn ang="0">
                    <a:pos x="45" y="0"/>
                  </a:cxn>
                  <a:cxn ang="0">
                    <a:pos x="11" y="29"/>
                  </a:cxn>
                  <a:cxn ang="0">
                    <a:pos x="0" y="29"/>
                  </a:cxn>
                </a:cxnLst>
                <a:rect l="0" t="0" r="r" b="b"/>
                <a:pathLst>
                  <a:path w="45" h="29">
                    <a:moveTo>
                      <a:pt x="0" y="29"/>
                    </a:moveTo>
                    <a:lnTo>
                      <a:pt x="23" y="0"/>
                    </a:lnTo>
                    <a:lnTo>
                      <a:pt x="45" y="0"/>
                    </a:lnTo>
                    <a:lnTo>
                      <a:pt x="11" y="2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4" name="Freeform 329">
                <a:extLst>
                  <a:ext uri="{FF2B5EF4-FFF2-40B4-BE49-F238E27FC236}">
                    <a16:creationId xmlns:a16="http://schemas.microsoft.com/office/drawing/2014/main" id="{D67C6724-77ED-4B1D-89EB-E0BDEE9E2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4251" y="5907077"/>
                <a:ext cx="61260" cy="4084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" y="30"/>
                  </a:cxn>
                  <a:cxn ang="0">
                    <a:pos x="9" y="0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30" y="0"/>
                  </a:cxn>
                  <a:cxn ang="0">
                    <a:pos x="45" y="0"/>
                  </a:cxn>
                  <a:cxn ang="0">
                    <a:pos x="21" y="30"/>
                  </a:cxn>
                  <a:cxn ang="0">
                    <a:pos x="0" y="0"/>
                  </a:cxn>
                </a:cxnLst>
                <a:rect l="0" t="0" r="r" b="b"/>
                <a:pathLst>
                  <a:path w="45" h="30">
                    <a:moveTo>
                      <a:pt x="0" y="0"/>
                    </a:moveTo>
                    <a:lnTo>
                      <a:pt x="9" y="30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30" y="0"/>
                    </a:lnTo>
                    <a:lnTo>
                      <a:pt x="45" y="0"/>
                    </a:lnTo>
                    <a:lnTo>
                      <a:pt x="21" y="3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5" name="Freeform 275">
                <a:extLst>
                  <a:ext uri="{FF2B5EF4-FFF2-40B4-BE49-F238E27FC236}">
                    <a16:creationId xmlns:a16="http://schemas.microsoft.com/office/drawing/2014/main" id="{3668A14A-AAF7-4CD6-AC88-6704634A3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8168" y="5946556"/>
                <a:ext cx="103461" cy="8304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6" y="61"/>
                  </a:cxn>
                  <a:cxn ang="0">
                    <a:pos x="45" y="61"/>
                  </a:cxn>
                  <a:cxn ang="0">
                    <a:pos x="76" y="50"/>
                  </a:cxn>
                  <a:cxn ang="0">
                    <a:pos x="24" y="24"/>
                  </a:cxn>
                  <a:cxn ang="0">
                    <a:pos x="0" y="0"/>
                  </a:cxn>
                </a:cxnLst>
                <a:rect l="0" t="0" r="r" b="b"/>
                <a:pathLst>
                  <a:path w="76" h="61">
                    <a:moveTo>
                      <a:pt x="0" y="0"/>
                    </a:moveTo>
                    <a:lnTo>
                      <a:pt x="36" y="61"/>
                    </a:lnTo>
                    <a:lnTo>
                      <a:pt x="45" y="61"/>
                    </a:lnTo>
                    <a:lnTo>
                      <a:pt x="76" y="50"/>
                    </a:lnTo>
                    <a:lnTo>
                      <a:pt x="24" y="2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6" name="Freeform 377">
                <a:extLst>
                  <a:ext uri="{FF2B5EF4-FFF2-40B4-BE49-F238E27FC236}">
                    <a16:creationId xmlns:a16="http://schemas.microsoft.com/office/drawing/2014/main" id="{7E03D22C-A939-4AD6-9A88-542ED1BD8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0283" y="1606612"/>
                <a:ext cx="1001939" cy="628938"/>
              </a:xfrm>
              <a:custGeom>
                <a:avLst/>
                <a:gdLst/>
                <a:ahLst/>
                <a:cxnLst>
                  <a:cxn ang="0">
                    <a:pos x="9" y="79"/>
                  </a:cxn>
                  <a:cxn ang="0">
                    <a:pos x="119" y="64"/>
                  </a:cxn>
                  <a:cxn ang="0">
                    <a:pos x="86" y="53"/>
                  </a:cxn>
                  <a:cxn ang="0">
                    <a:pos x="186" y="36"/>
                  </a:cxn>
                  <a:cxn ang="0">
                    <a:pos x="293" y="24"/>
                  </a:cxn>
                  <a:cxn ang="0">
                    <a:pos x="569" y="0"/>
                  </a:cxn>
                  <a:cxn ang="0">
                    <a:pos x="624" y="24"/>
                  </a:cxn>
                  <a:cxn ang="0">
                    <a:pos x="736" y="36"/>
                  </a:cxn>
                  <a:cxn ang="0">
                    <a:pos x="634" y="79"/>
                  </a:cxn>
                  <a:cxn ang="0">
                    <a:pos x="624" y="90"/>
                  </a:cxn>
                  <a:cxn ang="0">
                    <a:pos x="634" y="115"/>
                  </a:cxn>
                  <a:cxn ang="0">
                    <a:pos x="594" y="129"/>
                  </a:cxn>
                  <a:cxn ang="0">
                    <a:pos x="604" y="155"/>
                  </a:cxn>
                  <a:cxn ang="0">
                    <a:pos x="604" y="165"/>
                  </a:cxn>
                  <a:cxn ang="0">
                    <a:pos x="560" y="180"/>
                  </a:cxn>
                  <a:cxn ang="0">
                    <a:pos x="560" y="205"/>
                  </a:cxn>
                  <a:cxn ang="0">
                    <a:pos x="560" y="234"/>
                  </a:cxn>
                  <a:cxn ang="0">
                    <a:pos x="518" y="220"/>
                  </a:cxn>
                  <a:cxn ang="0">
                    <a:pos x="549" y="244"/>
                  </a:cxn>
                  <a:cxn ang="0">
                    <a:pos x="484" y="270"/>
                  </a:cxn>
                  <a:cxn ang="0">
                    <a:pos x="340" y="335"/>
                  </a:cxn>
                  <a:cxn ang="0">
                    <a:pos x="273" y="346"/>
                  </a:cxn>
                  <a:cxn ang="0">
                    <a:pos x="263" y="361"/>
                  </a:cxn>
                  <a:cxn ang="0">
                    <a:pos x="217" y="400"/>
                  </a:cxn>
                  <a:cxn ang="0">
                    <a:pos x="186" y="462"/>
                  </a:cxn>
                  <a:cxn ang="0">
                    <a:pos x="131" y="437"/>
                  </a:cxn>
                  <a:cxn ang="0">
                    <a:pos x="110" y="385"/>
                  </a:cxn>
                  <a:cxn ang="0">
                    <a:pos x="100" y="361"/>
                  </a:cxn>
                  <a:cxn ang="0">
                    <a:pos x="100" y="335"/>
                  </a:cxn>
                  <a:cxn ang="0">
                    <a:pos x="131" y="270"/>
                  </a:cxn>
                  <a:cxn ang="0">
                    <a:pos x="161" y="256"/>
                  </a:cxn>
                  <a:cxn ang="0">
                    <a:pos x="131" y="256"/>
                  </a:cxn>
                  <a:cxn ang="0">
                    <a:pos x="131" y="234"/>
                  </a:cxn>
                  <a:cxn ang="0">
                    <a:pos x="153" y="220"/>
                  </a:cxn>
                  <a:cxn ang="0">
                    <a:pos x="141" y="220"/>
                  </a:cxn>
                  <a:cxn ang="0">
                    <a:pos x="131" y="205"/>
                  </a:cxn>
                  <a:cxn ang="0">
                    <a:pos x="141" y="180"/>
                  </a:cxn>
                  <a:cxn ang="0">
                    <a:pos x="131" y="144"/>
                  </a:cxn>
                  <a:cxn ang="0">
                    <a:pos x="100" y="129"/>
                  </a:cxn>
                  <a:cxn ang="0">
                    <a:pos x="0" y="115"/>
                  </a:cxn>
                  <a:cxn ang="0">
                    <a:pos x="21" y="90"/>
                  </a:cxn>
                </a:cxnLst>
                <a:rect l="0" t="0" r="r" b="b"/>
                <a:pathLst>
                  <a:path w="736" h="462">
                    <a:moveTo>
                      <a:pt x="0" y="90"/>
                    </a:moveTo>
                    <a:lnTo>
                      <a:pt x="9" y="79"/>
                    </a:lnTo>
                    <a:lnTo>
                      <a:pt x="100" y="79"/>
                    </a:lnTo>
                    <a:lnTo>
                      <a:pt x="119" y="64"/>
                    </a:lnTo>
                    <a:lnTo>
                      <a:pt x="119" y="53"/>
                    </a:lnTo>
                    <a:lnTo>
                      <a:pt x="86" y="53"/>
                    </a:lnTo>
                    <a:lnTo>
                      <a:pt x="153" y="36"/>
                    </a:lnTo>
                    <a:lnTo>
                      <a:pt x="186" y="36"/>
                    </a:lnTo>
                    <a:lnTo>
                      <a:pt x="177" y="24"/>
                    </a:lnTo>
                    <a:lnTo>
                      <a:pt x="293" y="24"/>
                    </a:lnTo>
                    <a:lnTo>
                      <a:pt x="395" y="14"/>
                    </a:lnTo>
                    <a:lnTo>
                      <a:pt x="569" y="0"/>
                    </a:lnTo>
                    <a:lnTo>
                      <a:pt x="649" y="14"/>
                    </a:lnTo>
                    <a:lnTo>
                      <a:pt x="624" y="24"/>
                    </a:lnTo>
                    <a:lnTo>
                      <a:pt x="679" y="24"/>
                    </a:lnTo>
                    <a:lnTo>
                      <a:pt x="736" y="36"/>
                    </a:lnTo>
                    <a:lnTo>
                      <a:pt x="679" y="53"/>
                    </a:lnTo>
                    <a:lnTo>
                      <a:pt x="634" y="79"/>
                    </a:lnTo>
                    <a:lnTo>
                      <a:pt x="634" y="90"/>
                    </a:lnTo>
                    <a:lnTo>
                      <a:pt x="624" y="90"/>
                    </a:lnTo>
                    <a:lnTo>
                      <a:pt x="634" y="100"/>
                    </a:lnTo>
                    <a:lnTo>
                      <a:pt x="634" y="115"/>
                    </a:lnTo>
                    <a:lnTo>
                      <a:pt x="594" y="115"/>
                    </a:lnTo>
                    <a:lnTo>
                      <a:pt x="594" y="129"/>
                    </a:lnTo>
                    <a:lnTo>
                      <a:pt x="615" y="129"/>
                    </a:lnTo>
                    <a:lnTo>
                      <a:pt x="604" y="155"/>
                    </a:lnTo>
                    <a:lnTo>
                      <a:pt x="615" y="155"/>
                    </a:lnTo>
                    <a:lnTo>
                      <a:pt x="604" y="165"/>
                    </a:lnTo>
                    <a:lnTo>
                      <a:pt x="594" y="180"/>
                    </a:lnTo>
                    <a:lnTo>
                      <a:pt x="560" y="180"/>
                    </a:lnTo>
                    <a:lnTo>
                      <a:pt x="569" y="191"/>
                    </a:lnTo>
                    <a:lnTo>
                      <a:pt x="560" y="205"/>
                    </a:lnTo>
                    <a:lnTo>
                      <a:pt x="560" y="220"/>
                    </a:lnTo>
                    <a:lnTo>
                      <a:pt x="560" y="234"/>
                    </a:lnTo>
                    <a:lnTo>
                      <a:pt x="527" y="220"/>
                    </a:lnTo>
                    <a:lnTo>
                      <a:pt x="518" y="220"/>
                    </a:lnTo>
                    <a:lnTo>
                      <a:pt x="518" y="234"/>
                    </a:lnTo>
                    <a:lnTo>
                      <a:pt x="549" y="244"/>
                    </a:lnTo>
                    <a:lnTo>
                      <a:pt x="539" y="244"/>
                    </a:lnTo>
                    <a:lnTo>
                      <a:pt x="484" y="270"/>
                    </a:lnTo>
                    <a:lnTo>
                      <a:pt x="407" y="281"/>
                    </a:lnTo>
                    <a:lnTo>
                      <a:pt x="340" y="335"/>
                    </a:lnTo>
                    <a:lnTo>
                      <a:pt x="285" y="335"/>
                    </a:lnTo>
                    <a:lnTo>
                      <a:pt x="273" y="346"/>
                    </a:lnTo>
                    <a:lnTo>
                      <a:pt x="263" y="346"/>
                    </a:lnTo>
                    <a:lnTo>
                      <a:pt x="263" y="361"/>
                    </a:lnTo>
                    <a:lnTo>
                      <a:pt x="254" y="385"/>
                    </a:lnTo>
                    <a:lnTo>
                      <a:pt x="217" y="400"/>
                    </a:lnTo>
                    <a:lnTo>
                      <a:pt x="217" y="411"/>
                    </a:lnTo>
                    <a:lnTo>
                      <a:pt x="186" y="462"/>
                    </a:lnTo>
                    <a:lnTo>
                      <a:pt x="177" y="462"/>
                    </a:lnTo>
                    <a:lnTo>
                      <a:pt x="131" y="437"/>
                    </a:lnTo>
                    <a:lnTo>
                      <a:pt x="119" y="425"/>
                    </a:lnTo>
                    <a:lnTo>
                      <a:pt x="110" y="385"/>
                    </a:lnTo>
                    <a:lnTo>
                      <a:pt x="110" y="371"/>
                    </a:lnTo>
                    <a:lnTo>
                      <a:pt x="100" y="361"/>
                    </a:lnTo>
                    <a:lnTo>
                      <a:pt x="110" y="335"/>
                    </a:lnTo>
                    <a:lnTo>
                      <a:pt x="100" y="335"/>
                    </a:lnTo>
                    <a:lnTo>
                      <a:pt x="119" y="281"/>
                    </a:lnTo>
                    <a:lnTo>
                      <a:pt x="131" y="270"/>
                    </a:lnTo>
                    <a:lnTo>
                      <a:pt x="153" y="270"/>
                    </a:lnTo>
                    <a:lnTo>
                      <a:pt x="161" y="256"/>
                    </a:lnTo>
                    <a:lnTo>
                      <a:pt x="161" y="244"/>
                    </a:lnTo>
                    <a:lnTo>
                      <a:pt x="131" y="256"/>
                    </a:lnTo>
                    <a:lnTo>
                      <a:pt x="110" y="256"/>
                    </a:lnTo>
                    <a:lnTo>
                      <a:pt x="131" y="234"/>
                    </a:lnTo>
                    <a:lnTo>
                      <a:pt x="177" y="234"/>
                    </a:lnTo>
                    <a:lnTo>
                      <a:pt x="153" y="220"/>
                    </a:lnTo>
                    <a:lnTo>
                      <a:pt x="153" y="205"/>
                    </a:lnTo>
                    <a:lnTo>
                      <a:pt x="141" y="220"/>
                    </a:lnTo>
                    <a:lnTo>
                      <a:pt x="119" y="205"/>
                    </a:lnTo>
                    <a:lnTo>
                      <a:pt x="131" y="205"/>
                    </a:lnTo>
                    <a:lnTo>
                      <a:pt x="131" y="191"/>
                    </a:lnTo>
                    <a:lnTo>
                      <a:pt x="141" y="180"/>
                    </a:lnTo>
                    <a:lnTo>
                      <a:pt x="141" y="155"/>
                    </a:lnTo>
                    <a:lnTo>
                      <a:pt x="131" y="144"/>
                    </a:lnTo>
                    <a:lnTo>
                      <a:pt x="141" y="129"/>
                    </a:lnTo>
                    <a:lnTo>
                      <a:pt x="100" y="129"/>
                    </a:lnTo>
                    <a:lnTo>
                      <a:pt x="21" y="129"/>
                    </a:lnTo>
                    <a:lnTo>
                      <a:pt x="0" y="115"/>
                    </a:lnTo>
                    <a:lnTo>
                      <a:pt x="21" y="100"/>
                    </a:lnTo>
                    <a:lnTo>
                      <a:pt x="21" y="90"/>
                    </a:lnTo>
                    <a:lnTo>
                      <a:pt x="0" y="9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7" name="Freeform 379">
                <a:extLst>
                  <a:ext uri="{FF2B5EF4-FFF2-40B4-BE49-F238E27FC236}">
                    <a16:creationId xmlns:a16="http://schemas.microsoft.com/office/drawing/2014/main" id="{D642A55D-9EA1-486C-83EE-AC1E79739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4814" y="2043601"/>
                <a:ext cx="211006" cy="87126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23" y="0"/>
                  </a:cxn>
                  <a:cxn ang="0">
                    <a:pos x="45" y="14"/>
                  </a:cxn>
                  <a:cxn ang="0">
                    <a:pos x="45" y="25"/>
                  </a:cxn>
                  <a:cxn ang="0">
                    <a:pos x="67" y="0"/>
                  </a:cxn>
                  <a:cxn ang="0">
                    <a:pos x="67" y="14"/>
                  </a:cxn>
                  <a:cxn ang="0">
                    <a:pos x="100" y="14"/>
                  </a:cxn>
                  <a:cxn ang="0">
                    <a:pos x="121" y="0"/>
                  </a:cxn>
                  <a:cxn ang="0">
                    <a:pos x="140" y="0"/>
                  </a:cxn>
                  <a:cxn ang="0">
                    <a:pos x="140" y="14"/>
                  </a:cxn>
                  <a:cxn ang="0">
                    <a:pos x="155" y="14"/>
                  </a:cxn>
                  <a:cxn ang="0">
                    <a:pos x="140" y="25"/>
                  </a:cxn>
                  <a:cxn ang="0">
                    <a:pos x="131" y="39"/>
                  </a:cxn>
                  <a:cxn ang="0">
                    <a:pos x="67" y="64"/>
                  </a:cxn>
                  <a:cxn ang="0">
                    <a:pos x="9" y="49"/>
                  </a:cxn>
                  <a:cxn ang="0">
                    <a:pos x="33" y="39"/>
                  </a:cxn>
                  <a:cxn ang="0">
                    <a:pos x="0" y="39"/>
                  </a:cxn>
                  <a:cxn ang="0">
                    <a:pos x="33" y="25"/>
                  </a:cxn>
                  <a:cxn ang="0">
                    <a:pos x="0" y="14"/>
                  </a:cxn>
                </a:cxnLst>
                <a:rect l="0" t="0" r="r" b="b"/>
                <a:pathLst>
                  <a:path w="155" h="64">
                    <a:moveTo>
                      <a:pt x="0" y="14"/>
                    </a:moveTo>
                    <a:lnTo>
                      <a:pt x="23" y="0"/>
                    </a:lnTo>
                    <a:lnTo>
                      <a:pt x="45" y="14"/>
                    </a:lnTo>
                    <a:lnTo>
                      <a:pt x="45" y="25"/>
                    </a:lnTo>
                    <a:lnTo>
                      <a:pt x="67" y="0"/>
                    </a:lnTo>
                    <a:lnTo>
                      <a:pt x="67" y="14"/>
                    </a:lnTo>
                    <a:lnTo>
                      <a:pt x="100" y="14"/>
                    </a:lnTo>
                    <a:lnTo>
                      <a:pt x="121" y="0"/>
                    </a:lnTo>
                    <a:lnTo>
                      <a:pt x="140" y="0"/>
                    </a:lnTo>
                    <a:lnTo>
                      <a:pt x="140" y="14"/>
                    </a:lnTo>
                    <a:lnTo>
                      <a:pt x="155" y="14"/>
                    </a:lnTo>
                    <a:lnTo>
                      <a:pt x="140" y="25"/>
                    </a:lnTo>
                    <a:lnTo>
                      <a:pt x="131" y="39"/>
                    </a:lnTo>
                    <a:lnTo>
                      <a:pt x="67" y="64"/>
                    </a:lnTo>
                    <a:lnTo>
                      <a:pt x="9" y="49"/>
                    </a:lnTo>
                    <a:lnTo>
                      <a:pt x="33" y="39"/>
                    </a:lnTo>
                    <a:lnTo>
                      <a:pt x="0" y="39"/>
                    </a:lnTo>
                    <a:lnTo>
                      <a:pt x="33" y="25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8" name="Freeform 54">
                <a:extLst>
                  <a:ext uri="{FF2B5EF4-FFF2-40B4-BE49-F238E27FC236}">
                    <a16:creationId xmlns:a16="http://schemas.microsoft.com/office/drawing/2014/main" id="{8B06FB5C-01B3-426B-9856-36AE7D287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6389" y="2551375"/>
                <a:ext cx="117075" cy="72151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31" y="0"/>
                  </a:cxn>
                  <a:cxn ang="0">
                    <a:pos x="54" y="10"/>
                  </a:cxn>
                  <a:cxn ang="0">
                    <a:pos x="76" y="10"/>
                  </a:cxn>
                  <a:cxn ang="0">
                    <a:pos x="86" y="10"/>
                  </a:cxn>
                  <a:cxn ang="0">
                    <a:pos x="86" y="28"/>
                  </a:cxn>
                  <a:cxn ang="0">
                    <a:pos x="64" y="28"/>
                  </a:cxn>
                  <a:cxn ang="0">
                    <a:pos x="31" y="53"/>
                  </a:cxn>
                  <a:cxn ang="0">
                    <a:pos x="9" y="38"/>
                  </a:cxn>
                  <a:cxn ang="0">
                    <a:pos x="0" y="28"/>
                  </a:cxn>
                </a:cxnLst>
                <a:rect l="0" t="0" r="r" b="b"/>
                <a:pathLst>
                  <a:path w="86" h="53">
                    <a:moveTo>
                      <a:pt x="0" y="28"/>
                    </a:moveTo>
                    <a:lnTo>
                      <a:pt x="31" y="0"/>
                    </a:lnTo>
                    <a:lnTo>
                      <a:pt x="54" y="10"/>
                    </a:lnTo>
                    <a:lnTo>
                      <a:pt x="76" y="10"/>
                    </a:lnTo>
                    <a:lnTo>
                      <a:pt x="86" y="10"/>
                    </a:lnTo>
                    <a:lnTo>
                      <a:pt x="86" y="28"/>
                    </a:lnTo>
                    <a:lnTo>
                      <a:pt x="64" y="28"/>
                    </a:lnTo>
                    <a:lnTo>
                      <a:pt x="31" y="53"/>
                    </a:lnTo>
                    <a:lnTo>
                      <a:pt x="9" y="3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9" name="Freeform 56">
                <a:extLst>
                  <a:ext uri="{FF2B5EF4-FFF2-40B4-BE49-F238E27FC236}">
                    <a16:creationId xmlns:a16="http://schemas.microsoft.com/office/drawing/2014/main" id="{04E1C437-E8AC-4B80-8149-9B8A2FAB7A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4825" y="2462888"/>
                <a:ext cx="386620" cy="264099"/>
              </a:xfrm>
              <a:custGeom>
                <a:avLst/>
                <a:gdLst/>
                <a:ahLst/>
                <a:cxnLst>
                  <a:cxn ang="0">
                    <a:pos x="109" y="165"/>
                  </a:cxn>
                  <a:cxn ang="0">
                    <a:pos x="122" y="143"/>
                  </a:cxn>
                  <a:cxn ang="0">
                    <a:pos x="131" y="143"/>
                  </a:cxn>
                  <a:cxn ang="0">
                    <a:pos x="131" y="129"/>
                  </a:cxn>
                  <a:cxn ang="0">
                    <a:pos x="122" y="118"/>
                  </a:cxn>
                  <a:cxn ang="0">
                    <a:pos x="109" y="103"/>
                  </a:cxn>
                  <a:cxn ang="0">
                    <a:pos x="88" y="93"/>
                  </a:cxn>
                  <a:cxn ang="0">
                    <a:pos x="75" y="103"/>
                  </a:cxn>
                  <a:cxn ang="0">
                    <a:pos x="45" y="118"/>
                  </a:cxn>
                  <a:cxn ang="0">
                    <a:pos x="11" y="103"/>
                  </a:cxn>
                  <a:cxn ang="0">
                    <a:pos x="0" y="103"/>
                  </a:cxn>
                  <a:cxn ang="0">
                    <a:pos x="0" y="93"/>
                  </a:cxn>
                  <a:cxn ang="0">
                    <a:pos x="0" y="74"/>
                  </a:cxn>
                  <a:cxn ang="0">
                    <a:pos x="33" y="53"/>
                  </a:cxn>
                  <a:cxn ang="0">
                    <a:pos x="20" y="28"/>
                  </a:cxn>
                  <a:cxn ang="0">
                    <a:pos x="54" y="17"/>
                  </a:cxn>
                  <a:cxn ang="0">
                    <a:pos x="88" y="28"/>
                  </a:cxn>
                  <a:cxn ang="0">
                    <a:pos x="109" y="28"/>
                  </a:cxn>
                  <a:cxn ang="0">
                    <a:pos x="131" y="28"/>
                  </a:cxn>
                  <a:cxn ang="0">
                    <a:pos x="131" y="17"/>
                  </a:cxn>
                  <a:cxn ang="0">
                    <a:pos x="143" y="17"/>
                  </a:cxn>
                  <a:cxn ang="0">
                    <a:pos x="177" y="0"/>
                  </a:cxn>
                  <a:cxn ang="0">
                    <a:pos x="186" y="17"/>
                  </a:cxn>
                  <a:cxn ang="0">
                    <a:pos x="186" y="28"/>
                  </a:cxn>
                  <a:cxn ang="0">
                    <a:pos x="198" y="28"/>
                  </a:cxn>
                  <a:cxn ang="0">
                    <a:pos x="207" y="53"/>
                  </a:cxn>
                  <a:cxn ang="0">
                    <a:pos x="244" y="53"/>
                  </a:cxn>
                  <a:cxn ang="0">
                    <a:pos x="253" y="64"/>
                  </a:cxn>
                  <a:cxn ang="0">
                    <a:pos x="284" y="64"/>
                  </a:cxn>
                  <a:cxn ang="0">
                    <a:pos x="284" y="74"/>
                  </a:cxn>
                  <a:cxn ang="0">
                    <a:pos x="284" y="93"/>
                  </a:cxn>
                  <a:cxn ang="0">
                    <a:pos x="284" y="118"/>
                  </a:cxn>
                  <a:cxn ang="0">
                    <a:pos x="274" y="103"/>
                  </a:cxn>
                  <a:cxn ang="0">
                    <a:pos x="263" y="118"/>
                  </a:cxn>
                  <a:cxn ang="0">
                    <a:pos x="263" y="129"/>
                  </a:cxn>
                  <a:cxn ang="0">
                    <a:pos x="253" y="129"/>
                  </a:cxn>
                  <a:cxn ang="0">
                    <a:pos x="207" y="153"/>
                  </a:cxn>
                  <a:cxn ang="0">
                    <a:pos x="229" y="165"/>
                  </a:cxn>
                  <a:cxn ang="0">
                    <a:pos x="244" y="165"/>
                  </a:cxn>
                  <a:cxn ang="0">
                    <a:pos x="244" y="182"/>
                  </a:cxn>
                  <a:cxn ang="0">
                    <a:pos x="229" y="182"/>
                  </a:cxn>
                  <a:cxn ang="0">
                    <a:pos x="198" y="194"/>
                  </a:cxn>
                  <a:cxn ang="0">
                    <a:pos x="198" y="182"/>
                  </a:cxn>
                  <a:cxn ang="0">
                    <a:pos x="177" y="165"/>
                  </a:cxn>
                  <a:cxn ang="0">
                    <a:pos x="198" y="153"/>
                  </a:cxn>
                  <a:cxn ang="0">
                    <a:pos x="167" y="143"/>
                  </a:cxn>
                  <a:cxn ang="0">
                    <a:pos x="143" y="143"/>
                  </a:cxn>
                  <a:cxn ang="0">
                    <a:pos x="131" y="153"/>
                  </a:cxn>
                  <a:cxn ang="0">
                    <a:pos x="131" y="165"/>
                  </a:cxn>
                  <a:cxn ang="0">
                    <a:pos x="109" y="165"/>
                  </a:cxn>
                </a:cxnLst>
                <a:rect l="0" t="0" r="r" b="b"/>
                <a:pathLst>
                  <a:path w="284" h="194">
                    <a:moveTo>
                      <a:pt x="109" y="165"/>
                    </a:moveTo>
                    <a:lnTo>
                      <a:pt x="122" y="143"/>
                    </a:lnTo>
                    <a:lnTo>
                      <a:pt x="131" y="143"/>
                    </a:lnTo>
                    <a:lnTo>
                      <a:pt x="131" y="129"/>
                    </a:lnTo>
                    <a:lnTo>
                      <a:pt x="122" y="118"/>
                    </a:lnTo>
                    <a:lnTo>
                      <a:pt x="109" y="103"/>
                    </a:lnTo>
                    <a:lnTo>
                      <a:pt x="88" y="93"/>
                    </a:lnTo>
                    <a:lnTo>
                      <a:pt x="75" y="103"/>
                    </a:lnTo>
                    <a:lnTo>
                      <a:pt x="45" y="118"/>
                    </a:lnTo>
                    <a:lnTo>
                      <a:pt x="11" y="103"/>
                    </a:lnTo>
                    <a:lnTo>
                      <a:pt x="0" y="103"/>
                    </a:lnTo>
                    <a:lnTo>
                      <a:pt x="0" y="93"/>
                    </a:lnTo>
                    <a:lnTo>
                      <a:pt x="0" y="74"/>
                    </a:lnTo>
                    <a:lnTo>
                      <a:pt x="33" y="53"/>
                    </a:lnTo>
                    <a:lnTo>
                      <a:pt x="20" y="28"/>
                    </a:lnTo>
                    <a:lnTo>
                      <a:pt x="54" y="17"/>
                    </a:lnTo>
                    <a:lnTo>
                      <a:pt x="88" y="28"/>
                    </a:lnTo>
                    <a:lnTo>
                      <a:pt x="109" y="28"/>
                    </a:lnTo>
                    <a:lnTo>
                      <a:pt x="131" y="28"/>
                    </a:lnTo>
                    <a:lnTo>
                      <a:pt x="131" y="17"/>
                    </a:lnTo>
                    <a:lnTo>
                      <a:pt x="143" y="17"/>
                    </a:lnTo>
                    <a:lnTo>
                      <a:pt x="177" y="0"/>
                    </a:lnTo>
                    <a:lnTo>
                      <a:pt x="186" y="17"/>
                    </a:lnTo>
                    <a:lnTo>
                      <a:pt x="186" y="28"/>
                    </a:lnTo>
                    <a:lnTo>
                      <a:pt x="198" y="28"/>
                    </a:lnTo>
                    <a:lnTo>
                      <a:pt x="207" y="53"/>
                    </a:lnTo>
                    <a:lnTo>
                      <a:pt x="244" y="53"/>
                    </a:lnTo>
                    <a:lnTo>
                      <a:pt x="253" y="64"/>
                    </a:lnTo>
                    <a:lnTo>
                      <a:pt x="284" y="64"/>
                    </a:lnTo>
                    <a:lnTo>
                      <a:pt x="284" y="74"/>
                    </a:lnTo>
                    <a:lnTo>
                      <a:pt x="284" y="93"/>
                    </a:lnTo>
                    <a:lnTo>
                      <a:pt x="284" y="118"/>
                    </a:lnTo>
                    <a:lnTo>
                      <a:pt x="274" y="103"/>
                    </a:lnTo>
                    <a:lnTo>
                      <a:pt x="263" y="118"/>
                    </a:lnTo>
                    <a:lnTo>
                      <a:pt x="263" y="129"/>
                    </a:lnTo>
                    <a:lnTo>
                      <a:pt x="253" y="129"/>
                    </a:lnTo>
                    <a:lnTo>
                      <a:pt x="207" y="153"/>
                    </a:lnTo>
                    <a:lnTo>
                      <a:pt x="229" y="165"/>
                    </a:lnTo>
                    <a:lnTo>
                      <a:pt x="244" y="165"/>
                    </a:lnTo>
                    <a:lnTo>
                      <a:pt x="244" y="182"/>
                    </a:lnTo>
                    <a:lnTo>
                      <a:pt x="229" y="182"/>
                    </a:lnTo>
                    <a:lnTo>
                      <a:pt x="198" y="194"/>
                    </a:lnTo>
                    <a:lnTo>
                      <a:pt x="198" y="182"/>
                    </a:lnTo>
                    <a:lnTo>
                      <a:pt x="177" y="165"/>
                    </a:lnTo>
                    <a:lnTo>
                      <a:pt x="198" y="153"/>
                    </a:lnTo>
                    <a:lnTo>
                      <a:pt x="167" y="143"/>
                    </a:lnTo>
                    <a:lnTo>
                      <a:pt x="143" y="143"/>
                    </a:lnTo>
                    <a:lnTo>
                      <a:pt x="131" y="153"/>
                    </a:lnTo>
                    <a:lnTo>
                      <a:pt x="131" y="165"/>
                    </a:lnTo>
                    <a:lnTo>
                      <a:pt x="109" y="16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0" name="Freeform 58">
                <a:extLst>
                  <a:ext uri="{FF2B5EF4-FFF2-40B4-BE49-F238E27FC236}">
                    <a16:creationId xmlns:a16="http://schemas.microsoft.com/office/drawing/2014/main" id="{33C453ED-00BD-4119-9C92-924F73672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1161" y="2340369"/>
                <a:ext cx="191949" cy="160637"/>
              </a:xfrm>
              <a:custGeom>
                <a:avLst/>
                <a:gdLst/>
                <a:ahLst/>
                <a:cxnLst>
                  <a:cxn ang="0">
                    <a:pos x="9" y="78"/>
                  </a:cxn>
                  <a:cxn ang="0">
                    <a:pos x="0" y="52"/>
                  </a:cxn>
                  <a:cxn ang="0">
                    <a:pos x="43" y="52"/>
                  </a:cxn>
                  <a:cxn ang="0">
                    <a:pos x="34" y="42"/>
                  </a:cxn>
                  <a:cxn ang="0">
                    <a:pos x="55" y="28"/>
                  </a:cxn>
                  <a:cxn ang="0">
                    <a:pos x="55" y="17"/>
                  </a:cxn>
                  <a:cxn ang="0">
                    <a:pos x="76" y="0"/>
                  </a:cxn>
                  <a:cxn ang="0">
                    <a:pos x="110" y="17"/>
                  </a:cxn>
                  <a:cxn ang="0">
                    <a:pos x="120" y="42"/>
                  </a:cxn>
                  <a:cxn ang="0">
                    <a:pos x="131" y="64"/>
                  </a:cxn>
                  <a:cxn ang="0">
                    <a:pos x="141" y="64"/>
                  </a:cxn>
                  <a:cxn ang="0">
                    <a:pos x="141" y="78"/>
                  </a:cxn>
                  <a:cxn ang="0">
                    <a:pos x="120" y="78"/>
                  </a:cxn>
                  <a:cxn ang="0">
                    <a:pos x="131" y="106"/>
                  </a:cxn>
                  <a:cxn ang="0">
                    <a:pos x="120" y="106"/>
                  </a:cxn>
                  <a:cxn ang="0">
                    <a:pos x="120" y="118"/>
                  </a:cxn>
                  <a:cxn ang="0">
                    <a:pos x="98" y="118"/>
                  </a:cxn>
                  <a:cxn ang="0">
                    <a:pos x="76" y="118"/>
                  </a:cxn>
                  <a:cxn ang="0">
                    <a:pos x="43" y="106"/>
                  </a:cxn>
                  <a:cxn ang="0">
                    <a:pos x="9" y="118"/>
                  </a:cxn>
                  <a:cxn ang="0">
                    <a:pos x="0" y="106"/>
                  </a:cxn>
                  <a:cxn ang="0">
                    <a:pos x="9" y="78"/>
                  </a:cxn>
                </a:cxnLst>
                <a:rect l="0" t="0" r="r" b="b"/>
                <a:pathLst>
                  <a:path w="141" h="118">
                    <a:moveTo>
                      <a:pt x="9" y="78"/>
                    </a:moveTo>
                    <a:lnTo>
                      <a:pt x="0" y="52"/>
                    </a:lnTo>
                    <a:lnTo>
                      <a:pt x="43" y="52"/>
                    </a:lnTo>
                    <a:lnTo>
                      <a:pt x="34" y="42"/>
                    </a:lnTo>
                    <a:lnTo>
                      <a:pt x="55" y="28"/>
                    </a:lnTo>
                    <a:lnTo>
                      <a:pt x="55" y="17"/>
                    </a:lnTo>
                    <a:lnTo>
                      <a:pt x="76" y="0"/>
                    </a:lnTo>
                    <a:lnTo>
                      <a:pt x="110" y="17"/>
                    </a:lnTo>
                    <a:lnTo>
                      <a:pt x="120" y="42"/>
                    </a:lnTo>
                    <a:lnTo>
                      <a:pt x="131" y="64"/>
                    </a:lnTo>
                    <a:lnTo>
                      <a:pt x="141" y="64"/>
                    </a:lnTo>
                    <a:lnTo>
                      <a:pt x="141" y="78"/>
                    </a:lnTo>
                    <a:lnTo>
                      <a:pt x="120" y="78"/>
                    </a:lnTo>
                    <a:lnTo>
                      <a:pt x="131" y="106"/>
                    </a:lnTo>
                    <a:lnTo>
                      <a:pt x="120" y="106"/>
                    </a:lnTo>
                    <a:lnTo>
                      <a:pt x="120" y="118"/>
                    </a:lnTo>
                    <a:lnTo>
                      <a:pt x="98" y="118"/>
                    </a:lnTo>
                    <a:lnTo>
                      <a:pt x="76" y="118"/>
                    </a:lnTo>
                    <a:lnTo>
                      <a:pt x="43" y="106"/>
                    </a:lnTo>
                    <a:lnTo>
                      <a:pt x="9" y="118"/>
                    </a:lnTo>
                    <a:lnTo>
                      <a:pt x="0" y="106"/>
                    </a:lnTo>
                    <a:lnTo>
                      <a:pt x="9" y="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1" name="Freeform 60">
                <a:extLst>
                  <a:ext uri="{FF2B5EF4-FFF2-40B4-BE49-F238E27FC236}">
                    <a16:creationId xmlns:a16="http://schemas.microsoft.com/office/drawing/2014/main" id="{E5A6A5D5-77A7-4248-B0E0-8DF988BDF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1161" y="2235546"/>
                <a:ext cx="85764" cy="69428"/>
              </a:xfrm>
              <a:custGeom>
                <a:avLst/>
                <a:gdLst/>
                <a:ahLst/>
                <a:cxnLst>
                  <a:cxn ang="0">
                    <a:pos x="9" y="40"/>
                  </a:cxn>
                  <a:cxn ang="0">
                    <a:pos x="21" y="40"/>
                  </a:cxn>
                  <a:cxn ang="0">
                    <a:pos x="54" y="51"/>
                  </a:cxn>
                  <a:cxn ang="0">
                    <a:pos x="54" y="40"/>
                  </a:cxn>
                  <a:cxn ang="0">
                    <a:pos x="42" y="29"/>
                  </a:cxn>
                  <a:cxn ang="0">
                    <a:pos x="54" y="14"/>
                  </a:cxn>
                  <a:cxn ang="0">
                    <a:pos x="63" y="14"/>
                  </a:cxn>
                  <a:cxn ang="0">
                    <a:pos x="33" y="0"/>
                  </a:cxn>
                  <a:cxn ang="0">
                    <a:pos x="0" y="14"/>
                  </a:cxn>
                  <a:cxn ang="0">
                    <a:pos x="0" y="40"/>
                  </a:cxn>
                  <a:cxn ang="0">
                    <a:pos x="9" y="40"/>
                  </a:cxn>
                </a:cxnLst>
                <a:rect l="0" t="0" r="r" b="b"/>
                <a:pathLst>
                  <a:path w="63" h="51">
                    <a:moveTo>
                      <a:pt x="9" y="40"/>
                    </a:moveTo>
                    <a:lnTo>
                      <a:pt x="21" y="40"/>
                    </a:lnTo>
                    <a:lnTo>
                      <a:pt x="54" y="51"/>
                    </a:lnTo>
                    <a:lnTo>
                      <a:pt x="54" y="40"/>
                    </a:lnTo>
                    <a:lnTo>
                      <a:pt x="42" y="29"/>
                    </a:lnTo>
                    <a:lnTo>
                      <a:pt x="54" y="14"/>
                    </a:lnTo>
                    <a:lnTo>
                      <a:pt x="63" y="14"/>
                    </a:lnTo>
                    <a:lnTo>
                      <a:pt x="33" y="0"/>
                    </a:lnTo>
                    <a:lnTo>
                      <a:pt x="0" y="14"/>
                    </a:lnTo>
                    <a:lnTo>
                      <a:pt x="0" y="40"/>
                    </a:lnTo>
                    <a:lnTo>
                      <a:pt x="9" y="4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2" name="Freeform 62">
                <a:extLst>
                  <a:ext uri="{FF2B5EF4-FFF2-40B4-BE49-F238E27FC236}">
                    <a16:creationId xmlns:a16="http://schemas.microsoft.com/office/drawing/2014/main" id="{39CBAFA6-1EAA-4F1B-9C83-025F4B199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3514" y="2289999"/>
                <a:ext cx="149747" cy="72151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2" y="35"/>
                  </a:cxn>
                  <a:cxn ang="0">
                    <a:pos x="55" y="35"/>
                  </a:cxn>
                  <a:cxn ang="0">
                    <a:pos x="89" y="53"/>
                  </a:cxn>
                  <a:cxn ang="0">
                    <a:pos x="110" y="35"/>
                  </a:cxn>
                  <a:cxn ang="0">
                    <a:pos x="89" y="10"/>
                  </a:cxn>
                  <a:cxn ang="0">
                    <a:pos x="55" y="0"/>
                  </a:cxn>
                  <a:cxn ang="0">
                    <a:pos x="42" y="0"/>
                  </a:cxn>
                  <a:cxn ang="0">
                    <a:pos x="42" y="24"/>
                  </a:cxn>
                  <a:cxn ang="0">
                    <a:pos x="33" y="24"/>
                  </a:cxn>
                  <a:cxn ang="0">
                    <a:pos x="12" y="10"/>
                  </a:cxn>
                  <a:cxn ang="0">
                    <a:pos x="0" y="10"/>
                  </a:cxn>
                  <a:cxn ang="0">
                    <a:pos x="0" y="24"/>
                  </a:cxn>
                  <a:cxn ang="0">
                    <a:pos x="0" y="53"/>
                  </a:cxn>
                </a:cxnLst>
                <a:rect l="0" t="0" r="r" b="b"/>
                <a:pathLst>
                  <a:path w="110" h="53">
                    <a:moveTo>
                      <a:pt x="0" y="53"/>
                    </a:moveTo>
                    <a:lnTo>
                      <a:pt x="12" y="35"/>
                    </a:lnTo>
                    <a:lnTo>
                      <a:pt x="55" y="35"/>
                    </a:lnTo>
                    <a:lnTo>
                      <a:pt x="89" y="53"/>
                    </a:lnTo>
                    <a:lnTo>
                      <a:pt x="110" y="35"/>
                    </a:lnTo>
                    <a:lnTo>
                      <a:pt x="89" y="10"/>
                    </a:lnTo>
                    <a:lnTo>
                      <a:pt x="55" y="0"/>
                    </a:lnTo>
                    <a:lnTo>
                      <a:pt x="42" y="0"/>
                    </a:lnTo>
                    <a:lnTo>
                      <a:pt x="42" y="24"/>
                    </a:lnTo>
                    <a:lnTo>
                      <a:pt x="33" y="24"/>
                    </a:lnTo>
                    <a:lnTo>
                      <a:pt x="12" y="10"/>
                    </a:lnTo>
                    <a:lnTo>
                      <a:pt x="0" y="10"/>
                    </a:lnTo>
                    <a:lnTo>
                      <a:pt x="0" y="24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3" name="Freeform 64">
                <a:extLst>
                  <a:ext uri="{FF2B5EF4-FFF2-40B4-BE49-F238E27FC236}">
                    <a16:creationId xmlns:a16="http://schemas.microsoft.com/office/drawing/2014/main" id="{B8363359-13F8-49E3-9B48-0F46D093DA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1263" y="2340369"/>
                <a:ext cx="134772" cy="73512"/>
              </a:xfrm>
              <a:custGeom>
                <a:avLst/>
                <a:gdLst/>
                <a:ahLst/>
                <a:cxnLst>
                  <a:cxn ang="0">
                    <a:pos x="42" y="54"/>
                  </a:cxn>
                  <a:cxn ang="0">
                    <a:pos x="86" y="54"/>
                  </a:cxn>
                  <a:cxn ang="0">
                    <a:pos x="77" y="42"/>
                  </a:cxn>
                  <a:cxn ang="0">
                    <a:pos x="99" y="28"/>
                  </a:cxn>
                  <a:cxn ang="0">
                    <a:pos x="99" y="17"/>
                  </a:cxn>
                  <a:cxn ang="0">
                    <a:pos x="64" y="0"/>
                  </a:cxn>
                  <a:cxn ang="0">
                    <a:pos x="21" y="0"/>
                  </a:cxn>
                  <a:cxn ang="0">
                    <a:pos x="9" y="17"/>
                  </a:cxn>
                  <a:cxn ang="0">
                    <a:pos x="0" y="28"/>
                  </a:cxn>
                  <a:cxn ang="0">
                    <a:pos x="31" y="28"/>
                  </a:cxn>
                  <a:cxn ang="0">
                    <a:pos x="31" y="54"/>
                  </a:cxn>
                  <a:cxn ang="0">
                    <a:pos x="42" y="54"/>
                  </a:cxn>
                </a:cxnLst>
                <a:rect l="0" t="0" r="r" b="b"/>
                <a:pathLst>
                  <a:path w="99" h="54">
                    <a:moveTo>
                      <a:pt x="42" y="54"/>
                    </a:moveTo>
                    <a:lnTo>
                      <a:pt x="86" y="54"/>
                    </a:lnTo>
                    <a:lnTo>
                      <a:pt x="77" y="42"/>
                    </a:lnTo>
                    <a:lnTo>
                      <a:pt x="99" y="28"/>
                    </a:lnTo>
                    <a:lnTo>
                      <a:pt x="99" y="17"/>
                    </a:lnTo>
                    <a:lnTo>
                      <a:pt x="64" y="0"/>
                    </a:lnTo>
                    <a:lnTo>
                      <a:pt x="21" y="0"/>
                    </a:lnTo>
                    <a:lnTo>
                      <a:pt x="9" y="17"/>
                    </a:lnTo>
                    <a:lnTo>
                      <a:pt x="0" y="28"/>
                    </a:lnTo>
                    <a:lnTo>
                      <a:pt x="31" y="28"/>
                    </a:lnTo>
                    <a:lnTo>
                      <a:pt x="31" y="54"/>
                    </a:lnTo>
                    <a:lnTo>
                      <a:pt x="42" y="5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4" name="Freeform 68">
                <a:extLst>
                  <a:ext uri="{FF2B5EF4-FFF2-40B4-BE49-F238E27FC236}">
                    <a16:creationId xmlns:a16="http://schemas.microsoft.com/office/drawing/2014/main" id="{CB15F9AD-71A5-4580-9593-903612C520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6925" y="2590853"/>
                <a:ext cx="76235" cy="98016"/>
              </a:xfrm>
              <a:custGeom>
                <a:avLst/>
                <a:gdLst/>
                <a:ahLst/>
                <a:cxnLst>
                  <a:cxn ang="0">
                    <a:pos x="34" y="72"/>
                  </a:cxn>
                  <a:cxn ang="0">
                    <a:pos x="46" y="50"/>
                  </a:cxn>
                  <a:cxn ang="0">
                    <a:pos x="56" y="50"/>
                  </a:cxn>
                  <a:cxn ang="0">
                    <a:pos x="56" y="36"/>
                  </a:cxn>
                  <a:cxn ang="0">
                    <a:pos x="46" y="24"/>
                  </a:cxn>
                  <a:cxn ang="0">
                    <a:pos x="34" y="10"/>
                  </a:cxn>
                  <a:cxn ang="0">
                    <a:pos x="12" y="0"/>
                  </a:cxn>
                  <a:cxn ang="0">
                    <a:pos x="0" y="10"/>
                  </a:cxn>
                  <a:cxn ang="0">
                    <a:pos x="24" y="36"/>
                  </a:cxn>
                  <a:cxn ang="0">
                    <a:pos x="34" y="72"/>
                  </a:cxn>
                </a:cxnLst>
                <a:rect l="0" t="0" r="r" b="b"/>
                <a:pathLst>
                  <a:path w="56" h="72">
                    <a:moveTo>
                      <a:pt x="34" y="72"/>
                    </a:moveTo>
                    <a:lnTo>
                      <a:pt x="46" y="50"/>
                    </a:lnTo>
                    <a:lnTo>
                      <a:pt x="56" y="50"/>
                    </a:lnTo>
                    <a:lnTo>
                      <a:pt x="56" y="36"/>
                    </a:lnTo>
                    <a:lnTo>
                      <a:pt x="46" y="24"/>
                    </a:lnTo>
                    <a:lnTo>
                      <a:pt x="34" y="10"/>
                    </a:lnTo>
                    <a:lnTo>
                      <a:pt x="12" y="0"/>
                    </a:lnTo>
                    <a:lnTo>
                      <a:pt x="0" y="10"/>
                    </a:lnTo>
                    <a:lnTo>
                      <a:pt x="24" y="36"/>
                    </a:lnTo>
                    <a:lnTo>
                      <a:pt x="34" y="7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5" name="Freeform 207">
                <a:extLst>
                  <a:ext uri="{FF2B5EF4-FFF2-40B4-BE49-F238E27FC236}">
                    <a16:creationId xmlns:a16="http://schemas.microsoft.com/office/drawing/2014/main" id="{BABD9BDB-669B-43BC-9B75-D01A45383E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720" y="2748774"/>
                <a:ext cx="281795" cy="260015"/>
              </a:xfrm>
              <a:custGeom>
                <a:avLst/>
                <a:gdLst/>
                <a:ahLst/>
                <a:cxnLst>
                  <a:cxn ang="0">
                    <a:pos x="152" y="21"/>
                  </a:cxn>
                  <a:cxn ang="0">
                    <a:pos x="128" y="11"/>
                  </a:cxn>
                  <a:cxn ang="0">
                    <a:pos x="119" y="11"/>
                  </a:cxn>
                  <a:cxn ang="0">
                    <a:pos x="84" y="11"/>
                  </a:cxn>
                  <a:cxn ang="0">
                    <a:pos x="20" y="0"/>
                  </a:cxn>
                  <a:cxn ang="0">
                    <a:pos x="8" y="11"/>
                  </a:cxn>
                  <a:cxn ang="0">
                    <a:pos x="0" y="21"/>
                  </a:cxn>
                  <a:cxn ang="0">
                    <a:pos x="8" y="50"/>
                  </a:cxn>
                  <a:cxn ang="0">
                    <a:pos x="42" y="50"/>
                  </a:cxn>
                  <a:cxn ang="0">
                    <a:pos x="51" y="50"/>
                  </a:cxn>
                  <a:cxn ang="0">
                    <a:pos x="42" y="75"/>
                  </a:cxn>
                  <a:cxn ang="0">
                    <a:pos x="42" y="90"/>
                  </a:cxn>
                  <a:cxn ang="0">
                    <a:pos x="30" y="100"/>
                  </a:cxn>
                  <a:cxn ang="0">
                    <a:pos x="30" y="126"/>
                  </a:cxn>
                  <a:cxn ang="0">
                    <a:pos x="30" y="155"/>
                  </a:cxn>
                  <a:cxn ang="0">
                    <a:pos x="51" y="191"/>
                  </a:cxn>
                  <a:cxn ang="0">
                    <a:pos x="75" y="166"/>
                  </a:cxn>
                  <a:cxn ang="0">
                    <a:pos x="106" y="166"/>
                  </a:cxn>
                  <a:cxn ang="0">
                    <a:pos x="152" y="126"/>
                  </a:cxn>
                  <a:cxn ang="0">
                    <a:pos x="139" y="100"/>
                  </a:cxn>
                  <a:cxn ang="0">
                    <a:pos x="173" y="64"/>
                  </a:cxn>
                  <a:cxn ang="0">
                    <a:pos x="207" y="50"/>
                  </a:cxn>
                  <a:cxn ang="0">
                    <a:pos x="207" y="21"/>
                  </a:cxn>
                  <a:cxn ang="0">
                    <a:pos x="152" y="21"/>
                  </a:cxn>
                </a:cxnLst>
                <a:rect l="0" t="0" r="r" b="b"/>
                <a:pathLst>
                  <a:path w="207" h="191">
                    <a:moveTo>
                      <a:pt x="152" y="21"/>
                    </a:moveTo>
                    <a:lnTo>
                      <a:pt x="128" y="11"/>
                    </a:lnTo>
                    <a:lnTo>
                      <a:pt x="119" y="11"/>
                    </a:lnTo>
                    <a:lnTo>
                      <a:pt x="84" y="11"/>
                    </a:lnTo>
                    <a:lnTo>
                      <a:pt x="20" y="0"/>
                    </a:lnTo>
                    <a:lnTo>
                      <a:pt x="8" y="11"/>
                    </a:lnTo>
                    <a:lnTo>
                      <a:pt x="0" y="21"/>
                    </a:lnTo>
                    <a:lnTo>
                      <a:pt x="8" y="50"/>
                    </a:lnTo>
                    <a:lnTo>
                      <a:pt x="42" y="50"/>
                    </a:lnTo>
                    <a:lnTo>
                      <a:pt x="51" y="50"/>
                    </a:lnTo>
                    <a:lnTo>
                      <a:pt x="42" y="75"/>
                    </a:lnTo>
                    <a:lnTo>
                      <a:pt x="42" y="90"/>
                    </a:lnTo>
                    <a:lnTo>
                      <a:pt x="30" y="100"/>
                    </a:lnTo>
                    <a:lnTo>
                      <a:pt x="30" y="126"/>
                    </a:lnTo>
                    <a:lnTo>
                      <a:pt x="30" y="155"/>
                    </a:lnTo>
                    <a:lnTo>
                      <a:pt x="51" y="191"/>
                    </a:lnTo>
                    <a:lnTo>
                      <a:pt x="75" y="166"/>
                    </a:lnTo>
                    <a:lnTo>
                      <a:pt x="106" y="166"/>
                    </a:lnTo>
                    <a:lnTo>
                      <a:pt x="152" y="126"/>
                    </a:lnTo>
                    <a:lnTo>
                      <a:pt x="139" y="100"/>
                    </a:lnTo>
                    <a:lnTo>
                      <a:pt x="173" y="64"/>
                    </a:lnTo>
                    <a:lnTo>
                      <a:pt x="207" y="50"/>
                    </a:lnTo>
                    <a:lnTo>
                      <a:pt x="207" y="21"/>
                    </a:lnTo>
                    <a:lnTo>
                      <a:pt x="152" y="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6" name="Freeform 209">
                <a:extLst>
                  <a:ext uri="{FF2B5EF4-FFF2-40B4-BE49-F238E27FC236}">
                    <a16:creationId xmlns:a16="http://schemas.microsoft.com/office/drawing/2014/main" id="{A966CED2-AF29-4483-8BB0-140CFFE7B3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3302" y="2819563"/>
                <a:ext cx="91209" cy="156554"/>
              </a:xfrm>
              <a:custGeom>
                <a:avLst/>
                <a:gdLst/>
                <a:ahLst/>
                <a:cxnLst>
                  <a:cxn ang="0">
                    <a:pos x="45" y="74"/>
                  </a:cxn>
                  <a:cxn ang="0">
                    <a:pos x="45" y="103"/>
                  </a:cxn>
                  <a:cxn ang="0">
                    <a:pos x="15" y="115"/>
                  </a:cxn>
                  <a:cxn ang="0">
                    <a:pos x="15" y="74"/>
                  </a:cxn>
                  <a:cxn ang="0">
                    <a:pos x="0" y="60"/>
                  </a:cxn>
                  <a:cxn ang="0">
                    <a:pos x="23" y="14"/>
                  </a:cxn>
                  <a:cxn ang="0">
                    <a:pos x="23" y="0"/>
                  </a:cxn>
                  <a:cxn ang="0">
                    <a:pos x="57" y="0"/>
                  </a:cxn>
                  <a:cxn ang="0">
                    <a:pos x="67" y="0"/>
                  </a:cxn>
                  <a:cxn ang="0">
                    <a:pos x="57" y="24"/>
                  </a:cxn>
                  <a:cxn ang="0">
                    <a:pos x="57" y="39"/>
                  </a:cxn>
                  <a:cxn ang="0">
                    <a:pos x="45" y="50"/>
                  </a:cxn>
                  <a:cxn ang="0">
                    <a:pos x="45" y="74"/>
                  </a:cxn>
                </a:cxnLst>
                <a:rect l="0" t="0" r="r" b="b"/>
                <a:pathLst>
                  <a:path w="67" h="115">
                    <a:moveTo>
                      <a:pt x="45" y="74"/>
                    </a:moveTo>
                    <a:lnTo>
                      <a:pt x="45" y="103"/>
                    </a:lnTo>
                    <a:lnTo>
                      <a:pt x="15" y="115"/>
                    </a:lnTo>
                    <a:lnTo>
                      <a:pt x="15" y="74"/>
                    </a:lnTo>
                    <a:lnTo>
                      <a:pt x="0" y="60"/>
                    </a:lnTo>
                    <a:lnTo>
                      <a:pt x="23" y="14"/>
                    </a:lnTo>
                    <a:lnTo>
                      <a:pt x="23" y="0"/>
                    </a:lnTo>
                    <a:lnTo>
                      <a:pt x="57" y="0"/>
                    </a:lnTo>
                    <a:lnTo>
                      <a:pt x="67" y="0"/>
                    </a:lnTo>
                    <a:lnTo>
                      <a:pt x="57" y="24"/>
                    </a:lnTo>
                    <a:lnTo>
                      <a:pt x="57" y="39"/>
                    </a:lnTo>
                    <a:lnTo>
                      <a:pt x="45" y="50"/>
                    </a:lnTo>
                    <a:lnTo>
                      <a:pt x="45" y="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7" name="Freeform 211">
                <a:extLst>
                  <a:ext uri="{FF2B5EF4-FFF2-40B4-BE49-F238E27FC236}">
                    <a16:creationId xmlns:a16="http://schemas.microsoft.com/office/drawing/2014/main" id="{D8FD9CE6-4FAC-4B84-A319-18424E002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435" y="2502372"/>
                <a:ext cx="270905" cy="274990"/>
              </a:xfrm>
              <a:custGeom>
                <a:avLst/>
                <a:gdLst/>
                <a:ahLst/>
                <a:cxnLst>
                  <a:cxn ang="0">
                    <a:pos x="199" y="89"/>
                  </a:cxn>
                  <a:cxn ang="0">
                    <a:pos x="189" y="89"/>
                  </a:cxn>
                  <a:cxn ang="0">
                    <a:pos x="165" y="115"/>
                  </a:cxn>
                  <a:cxn ang="0">
                    <a:pos x="175" y="125"/>
                  </a:cxn>
                  <a:cxn ang="0">
                    <a:pos x="175" y="115"/>
                  </a:cxn>
                  <a:cxn ang="0">
                    <a:pos x="189" y="125"/>
                  </a:cxn>
                  <a:cxn ang="0">
                    <a:pos x="175" y="155"/>
                  </a:cxn>
                  <a:cxn ang="0">
                    <a:pos x="199" y="180"/>
                  </a:cxn>
                  <a:cxn ang="0">
                    <a:pos x="175" y="191"/>
                  </a:cxn>
                  <a:cxn ang="0">
                    <a:pos x="131" y="191"/>
                  </a:cxn>
                  <a:cxn ang="0">
                    <a:pos x="122" y="202"/>
                  </a:cxn>
                  <a:cxn ang="0">
                    <a:pos x="67" y="202"/>
                  </a:cxn>
                  <a:cxn ang="0">
                    <a:pos x="43" y="191"/>
                  </a:cxn>
                  <a:cxn ang="0">
                    <a:pos x="43" y="180"/>
                  </a:cxn>
                  <a:cxn ang="0">
                    <a:pos x="54" y="125"/>
                  </a:cxn>
                  <a:cxn ang="0">
                    <a:pos x="54" y="115"/>
                  </a:cxn>
                  <a:cxn ang="0">
                    <a:pos x="34" y="89"/>
                  </a:cxn>
                  <a:cxn ang="0">
                    <a:pos x="0" y="75"/>
                  </a:cxn>
                  <a:cxn ang="0">
                    <a:pos x="0" y="64"/>
                  </a:cxn>
                  <a:cxn ang="0">
                    <a:pos x="21" y="64"/>
                  </a:cxn>
                  <a:cxn ang="0">
                    <a:pos x="34" y="64"/>
                  </a:cxn>
                  <a:cxn ang="0">
                    <a:pos x="54" y="64"/>
                  </a:cxn>
                  <a:cxn ang="0">
                    <a:pos x="43" y="36"/>
                  </a:cxn>
                  <a:cxn ang="0">
                    <a:pos x="54" y="36"/>
                  </a:cxn>
                  <a:cxn ang="0">
                    <a:pos x="54" y="46"/>
                  </a:cxn>
                  <a:cxn ang="0">
                    <a:pos x="76" y="46"/>
                  </a:cxn>
                  <a:cxn ang="0">
                    <a:pos x="76" y="36"/>
                  </a:cxn>
                  <a:cxn ang="0">
                    <a:pos x="98" y="24"/>
                  </a:cxn>
                  <a:cxn ang="0">
                    <a:pos x="110" y="10"/>
                  </a:cxn>
                  <a:cxn ang="0">
                    <a:pos x="122" y="0"/>
                  </a:cxn>
                  <a:cxn ang="0">
                    <a:pos x="122" y="10"/>
                  </a:cxn>
                  <a:cxn ang="0">
                    <a:pos x="144" y="36"/>
                  </a:cxn>
                  <a:cxn ang="0">
                    <a:pos x="153" y="24"/>
                  </a:cxn>
                  <a:cxn ang="0">
                    <a:pos x="153" y="36"/>
                  </a:cxn>
                  <a:cxn ang="0">
                    <a:pos x="165" y="36"/>
                  </a:cxn>
                  <a:cxn ang="0">
                    <a:pos x="175" y="36"/>
                  </a:cxn>
                  <a:cxn ang="0">
                    <a:pos x="199" y="64"/>
                  </a:cxn>
                  <a:cxn ang="0">
                    <a:pos x="199" y="89"/>
                  </a:cxn>
                </a:cxnLst>
                <a:rect l="0" t="0" r="r" b="b"/>
                <a:pathLst>
                  <a:path w="199" h="202">
                    <a:moveTo>
                      <a:pt x="199" y="89"/>
                    </a:moveTo>
                    <a:lnTo>
                      <a:pt x="189" y="89"/>
                    </a:lnTo>
                    <a:lnTo>
                      <a:pt x="165" y="115"/>
                    </a:lnTo>
                    <a:lnTo>
                      <a:pt x="175" y="125"/>
                    </a:lnTo>
                    <a:lnTo>
                      <a:pt x="175" y="115"/>
                    </a:lnTo>
                    <a:lnTo>
                      <a:pt x="189" y="125"/>
                    </a:lnTo>
                    <a:lnTo>
                      <a:pt x="175" y="155"/>
                    </a:lnTo>
                    <a:lnTo>
                      <a:pt x="199" y="180"/>
                    </a:lnTo>
                    <a:lnTo>
                      <a:pt x="175" y="191"/>
                    </a:lnTo>
                    <a:lnTo>
                      <a:pt x="131" y="191"/>
                    </a:lnTo>
                    <a:lnTo>
                      <a:pt x="122" y="202"/>
                    </a:lnTo>
                    <a:lnTo>
                      <a:pt x="67" y="202"/>
                    </a:lnTo>
                    <a:lnTo>
                      <a:pt x="43" y="191"/>
                    </a:lnTo>
                    <a:lnTo>
                      <a:pt x="43" y="180"/>
                    </a:lnTo>
                    <a:lnTo>
                      <a:pt x="54" y="125"/>
                    </a:lnTo>
                    <a:lnTo>
                      <a:pt x="54" y="115"/>
                    </a:lnTo>
                    <a:lnTo>
                      <a:pt x="34" y="89"/>
                    </a:lnTo>
                    <a:lnTo>
                      <a:pt x="0" y="75"/>
                    </a:lnTo>
                    <a:lnTo>
                      <a:pt x="0" y="64"/>
                    </a:lnTo>
                    <a:lnTo>
                      <a:pt x="21" y="64"/>
                    </a:lnTo>
                    <a:lnTo>
                      <a:pt x="34" y="64"/>
                    </a:lnTo>
                    <a:lnTo>
                      <a:pt x="54" y="64"/>
                    </a:lnTo>
                    <a:lnTo>
                      <a:pt x="43" y="36"/>
                    </a:lnTo>
                    <a:lnTo>
                      <a:pt x="54" y="36"/>
                    </a:lnTo>
                    <a:lnTo>
                      <a:pt x="54" y="46"/>
                    </a:lnTo>
                    <a:lnTo>
                      <a:pt x="76" y="46"/>
                    </a:lnTo>
                    <a:lnTo>
                      <a:pt x="76" y="36"/>
                    </a:lnTo>
                    <a:lnTo>
                      <a:pt x="98" y="24"/>
                    </a:lnTo>
                    <a:lnTo>
                      <a:pt x="110" y="10"/>
                    </a:lnTo>
                    <a:lnTo>
                      <a:pt x="122" y="0"/>
                    </a:lnTo>
                    <a:lnTo>
                      <a:pt x="122" y="10"/>
                    </a:lnTo>
                    <a:lnTo>
                      <a:pt x="144" y="36"/>
                    </a:lnTo>
                    <a:lnTo>
                      <a:pt x="153" y="24"/>
                    </a:lnTo>
                    <a:lnTo>
                      <a:pt x="153" y="36"/>
                    </a:lnTo>
                    <a:lnTo>
                      <a:pt x="165" y="36"/>
                    </a:lnTo>
                    <a:lnTo>
                      <a:pt x="175" y="36"/>
                    </a:lnTo>
                    <a:lnTo>
                      <a:pt x="199" y="64"/>
                    </a:lnTo>
                    <a:lnTo>
                      <a:pt x="199" y="8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8" name="Freeform 213">
                <a:extLst>
                  <a:ext uri="{FF2B5EF4-FFF2-40B4-BE49-F238E27FC236}">
                    <a16:creationId xmlns:a16="http://schemas.microsoft.com/office/drawing/2014/main" id="{6027C6DB-2609-44D8-ABC2-DC16256F6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028" y="2639867"/>
                <a:ext cx="269543" cy="300856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23" y="79"/>
                  </a:cxn>
                  <a:cxn ang="0">
                    <a:pos x="33" y="65"/>
                  </a:cxn>
                  <a:cxn ang="0">
                    <a:pos x="54" y="79"/>
                  </a:cxn>
                  <a:cxn ang="0">
                    <a:pos x="78" y="115"/>
                  </a:cxn>
                  <a:cxn ang="0">
                    <a:pos x="90" y="115"/>
                  </a:cxn>
                  <a:cxn ang="0">
                    <a:pos x="100" y="130"/>
                  </a:cxn>
                  <a:cxn ang="0">
                    <a:pos x="121" y="144"/>
                  </a:cxn>
                  <a:cxn ang="0">
                    <a:pos x="154" y="170"/>
                  </a:cxn>
                  <a:cxn ang="0">
                    <a:pos x="167" y="192"/>
                  </a:cxn>
                  <a:cxn ang="0">
                    <a:pos x="154" y="221"/>
                  </a:cxn>
                  <a:cxn ang="0">
                    <a:pos x="167" y="221"/>
                  </a:cxn>
                  <a:cxn ang="0">
                    <a:pos x="167" y="192"/>
                  </a:cxn>
                  <a:cxn ang="0">
                    <a:pos x="176" y="192"/>
                  </a:cxn>
                  <a:cxn ang="0">
                    <a:pos x="176" y="180"/>
                  </a:cxn>
                  <a:cxn ang="0">
                    <a:pos x="167" y="180"/>
                  </a:cxn>
                  <a:cxn ang="0">
                    <a:pos x="176" y="155"/>
                  </a:cxn>
                  <a:cxn ang="0">
                    <a:pos x="198" y="170"/>
                  </a:cxn>
                  <a:cxn ang="0">
                    <a:pos x="154" y="130"/>
                  </a:cxn>
                  <a:cxn ang="0">
                    <a:pos x="167" y="130"/>
                  </a:cxn>
                  <a:cxn ang="0">
                    <a:pos x="142" y="130"/>
                  </a:cxn>
                  <a:cxn ang="0">
                    <a:pos x="130" y="115"/>
                  </a:cxn>
                  <a:cxn ang="0">
                    <a:pos x="121" y="90"/>
                  </a:cxn>
                  <a:cxn ang="0">
                    <a:pos x="100" y="65"/>
                  </a:cxn>
                  <a:cxn ang="0">
                    <a:pos x="100" y="36"/>
                  </a:cxn>
                  <a:cxn ang="0">
                    <a:pos x="109" y="24"/>
                  </a:cxn>
                  <a:cxn ang="0">
                    <a:pos x="121" y="36"/>
                  </a:cxn>
                  <a:cxn ang="0">
                    <a:pos x="121" y="24"/>
                  </a:cxn>
                  <a:cxn ang="0">
                    <a:pos x="121" y="14"/>
                  </a:cxn>
                  <a:cxn ang="0">
                    <a:pos x="100" y="0"/>
                  </a:cxn>
                  <a:cxn ang="0">
                    <a:pos x="90" y="0"/>
                  </a:cxn>
                  <a:cxn ang="0">
                    <a:pos x="67" y="0"/>
                  </a:cxn>
                  <a:cxn ang="0">
                    <a:pos x="54" y="14"/>
                  </a:cxn>
                  <a:cxn ang="0">
                    <a:pos x="45" y="14"/>
                  </a:cxn>
                  <a:cxn ang="0">
                    <a:pos x="45" y="24"/>
                  </a:cxn>
                  <a:cxn ang="0">
                    <a:pos x="33" y="14"/>
                  </a:cxn>
                  <a:cxn ang="0">
                    <a:pos x="14" y="24"/>
                  </a:cxn>
                  <a:cxn ang="0">
                    <a:pos x="0" y="54"/>
                  </a:cxn>
                </a:cxnLst>
                <a:rect l="0" t="0" r="r" b="b"/>
                <a:pathLst>
                  <a:path w="198" h="221">
                    <a:moveTo>
                      <a:pt x="0" y="54"/>
                    </a:moveTo>
                    <a:lnTo>
                      <a:pt x="23" y="79"/>
                    </a:lnTo>
                    <a:lnTo>
                      <a:pt x="33" y="65"/>
                    </a:lnTo>
                    <a:lnTo>
                      <a:pt x="54" y="79"/>
                    </a:lnTo>
                    <a:lnTo>
                      <a:pt x="78" y="115"/>
                    </a:lnTo>
                    <a:lnTo>
                      <a:pt x="90" y="115"/>
                    </a:lnTo>
                    <a:lnTo>
                      <a:pt x="100" y="130"/>
                    </a:lnTo>
                    <a:lnTo>
                      <a:pt x="121" y="144"/>
                    </a:lnTo>
                    <a:lnTo>
                      <a:pt x="154" y="170"/>
                    </a:lnTo>
                    <a:lnTo>
                      <a:pt x="167" y="192"/>
                    </a:lnTo>
                    <a:lnTo>
                      <a:pt x="154" y="221"/>
                    </a:lnTo>
                    <a:lnTo>
                      <a:pt x="167" y="221"/>
                    </a:lnTo>
                    <a:lnTo>
                      <a:pt x="167" y="192"/>
                    </a:lnTo>
                    <a:lnTo>
                      <a:pt x="176" y="192"/>
                    </a:lnTo>
                    <a:lnTo>
                      <a:pt x="176" y="180"/>
                    </a:lnTo>
                    <a:lnTo>
                      <a:pt x="167" y="180"/>
                    </a:lnTo>
                    <a:lnTo>
                      <a:pt x="176" y="155"/>
                    </a:lnTo>
                    <a:lnTo>
                      <a:pt x="198" y="170"/>
                    </a:lnTo>
                    <a:lnTo>
                      <a:pt x="154" y="130"/>
                    </a:lnTo>
                    <a:lnTo>
                      <a:pt x="167" y="130"/>
                    </a:lnTo>
                    <a:lnTo>
                      <a:pt x="142" y="130"/>
                    </a:lnTo>
                    <a:lnTo>
                      <a:pt x="130" y="115"/>
                    </a:lnTo>
                    <a:lnTo>
                      <a:pt x="121" y="90"/>
                    </a:lnTo>
                    <a:lnTo>
                      <a:pt x="100" y="65"/>
                    </a:lnTo>
                    <a:lnTo>
                      <a:pt x="100" y="36"/>
                    </a:lnTo>
                    <a:lnTo>
                      <a:pt x="109" y="24"/>
                    </a:lnTo>
                    <a:lnTo>
                      <a:pt x="121" y="36"/>
                    </a:lnTo>
                    <a:lnTo>
                      <a:pt x="121" y="24"/>
                    </a:lnTo>
                    <a:lnTo>
                      <a:pt x="121" y="14"/>
                    </a:lnTo>
                    <a:lnTo>
                      <a:pt x="100" y="0"/>
                    </a:lnTo>
                    <a:lnTo>
                      <a:pt x="90" y="0"/>
                    </a:lnTo>
                    <a:lnTo>
                      <a:pt x="67" y="0"/>
                    </a:lnTo>
                    <a:lnTo>
                      <a:pt x="54" y="14"/>
                    </a:lnTo>
                    <a:lnTo>
                      <a:pt x="45" y="14"/>
                    </a:lnTo>
                    <a:lnTo>
                      <a:pt x="45" y="24"/>
                    </a:lnTo>
                    <a:lnTo>
                      <a:pt x="33" y="14"/>
                    </a:lnTo>
                    <a:lnTo>
                      <a:pt x="14" y="24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9" name="Freeform 215">
                <a:extLst>
                  <a:ext uri="{FF2B5EF4-FFF2-40B4-BE49-F238E27FC236}">
                    <a16:creationId xmlns:a16="http://schemas.microsoft.com/office/drawing/2014/main" id="{1122A5B7-392C-4C04-92E6-3FF0E3AF8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1143" y="2728354"/>
                <a:ext cx="149746" cy="107545"/>
              </a:xfrm>
              <a:custGeom>
                <a:avLst/>
                <a:gdLst/>
                <a:ahLst/>
                <a:cxnLst>
                  <a:cxn ang="0">
                    <a:pos x="76" y="0"/>
                  </a:cxn>
                  <a:cxn ang="0">
                    <a:pos x="110" y="14"/>
                  </a:cxn>
                  <a:cxn ang="0">
                    <a:pos x="97" y="25"/>
                  </a:cxn>
                  <a:cxn ang="0">
                    <a:pos x="88" y="35"/>
                  </a:cxn>
                  <a:cxn ang="0">
                    <a:pos x="97" y="64"/>
                  </a:cxn>
                  <a:cxn ang="0">
                    <a:pos x="63" y="64"/>
                  </a:cxn>
                  <a:cxn ang="0">
                    <a:pos x="55" y="79"/>
                  </a:cxn>
                  <a:cxn ang="0">
                    <a:pos x="33" y="64"/>
                  </a:cxn>
                  <a:cxn ang="0">
                    <a:pos x="9" y="79"/>
                  </a:cxn>
                  <a:cxn ang="0">
                    <a:pos x="0" y="50"/>
                  </a:cxn>
                  <a:cxn ang="0">
                    <a:pos x="0" y="35"/>
                  </a:cxn>
                  <a:cxn ang="0">
                    <a:pos x="0" y="14"/>
                  </a:cxn>
                  <a:cxn ang="0">
                    <a:pos x="9" y="0"/>
                  </a:cxn>
                  <a:cxn ang="0">
                    <a:pos x="21" y="14"/>
                  </a:cxn>
                  <a:cxn ang="0">
                    <a:pos x="55" y="14"/>
                  </a:cxn>
                  <a:cxn ang="0">
                    <a:pos x="76" y="0"/>
                  </a:cxn>
                </a:cxnLst>
                <a:rect l="0" t="0" r="r" b="b"/>
                <a:pathLst>
                  <a:path w="110" h="79">
                    <a:moveTo>
                      <a:pt x="76" y="0"/>
                    </a:moveTo>
                    <a:lnTo>
                      <a:pt x="110" y="14"/>
                    </a:lnTo>
                    <a:lnTo>
                      <a:pt x="97" y="25"/>
                    </a:lnTo>
                    <a:lnTo>
                      <a:pt x="88" y="35"/>
                    </a:lnTo>
                    <a:lnTo>
                      <a:pt x="97" y="64"/>
                    </a:lnTo>
                    <a:lnTo>
                      <a:pt x="63" y="64"/>
                    </a:lnTo>
                    <a:lnTo>
                      <a:pt x="55" y="79"/>
                    </a:lnTo>
                    <a:lnTo>
                      <a:pt x="33" y="64"/>
                    </a:lnTo>
                    <a:lnTo>
                      <a:pt x="9" y="79"/>
                    </a:lnTo>
                    <a:lnTo>
                      <a:pt x="0" y="50"/>
                    </a:lnTo>
                    <a:lnTo>
                      <a:pt x="0" y="35"/>
                    </a:lnTo>
                    <a:lnTo>
                      <a:pt x="0" y="14"/>
                    </a:lnTo>
                    <a:lnTo>
                      <a:pt x="9" y="0"/>
                    </a:lnTo>
                    <a:lnTo>
                      <a:pt x="21" y="14"/>
                    </a:lnTo>
                    <a:lnTo>
                      <a:pt x="55" y="14"/>
                    </a:lnTo>
                    <a:lnTo>
                      <a:pt x="76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0" name="Freeform 217">
                <a:extLst>
                  <a:ext uri="{FF2B5EF4-FFF2-40B4-BE49-F238E27FC236}">
                    <a16:creationId xmlns:a16="http://schemas.microsoft.com/office/drawing/2014/main" id="{785CDB77-387D-4906-92C1-17E761B4E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3496" y="2819563"/>
                <a:ext cx="133410" cy="141579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98" y="24"/>
                  </a:cxn>
                  <a:cxn ang="0">
                    <a:pos x="89" y="24"/>
                  </a:cxn>
                  <a:cxn ang="0">
                    <a:pos x="67" y="14"/>
                  </a:cxn>
                  <a:cxn ang="0">
                    <a:pos x="55" y="24"/>
                  </a:cxn>
                  <a:cxn ang="0">
                    <a:pos x="55" y="39"/>
                  </a:cxn>
                  <a:cxn ang="0">
                    <a:pos x="42" y="24"/>
                  </a:cxn>
                  <a:cxn ang="0">
                    <a:pos x="42" y="39"/>
                  </a:cxn>
                  <a:cxn ang="0">
                    <a:pos x="55" y="60"/>
                  </a:cxn>
                  <a:cxn ang="0">
                    <a:pos x="77" y="89"/>
                  </a:cxn>
                  <a:cxn ang="0">
                    <a:pos x="67" y="89"/>
                  </a:cxn>
                  <a:cxn ang="0">
                    <a:pos x="67" y="104"/>
                  </a:cxn>
                  <a:cxn ang="0">
                    <a:pos x="42" y="75"/>
                  </a:cxn>
                  <a:cxn ang="0">
                    <a:pos x="21" y="75"/>
                  </a:cxn>
                  <a:cxn ang="0">
                    <a:pos x="0" y="50"/>
                  </a:cxn>
                  <a:cxn ang="0">
                    <a:pos x="12" y="24"/>
                  </a:cxn>
                  <a:cxn ang="0">
                    <a:pos x="42" y="14"/>
                  </a:cxn>
                  <a:cxn ang="0">
                    <a:pos x="67" y="0"/>
                  </a:cxn>
                  <a:cxn ang="0">
                    <a:pos x="89" y="14"/>
                  </a:cxn>
                  <a:cxn ang="0">
                    <a:pos x="98" y="0"/>
                  </a:cxn>
                </a:cxnLst>
                <a:rect l="0" t="0" r="r" b="b"/>
                <a:pathLst>
                  <a:path w="98" h="104">
                    <a:moveTo>
                      <a:pt x="98" y="0"/>
                    </a:moveTo>
                    <a:lnTo>
                      <a:pt x="98" y="24"/>
                    </a:lnTo>
                    <a:lnTo>
                      <a:pt x="89" y="24"/>
                    </a:lnTo>
                    <a:lnTo>
                      <a:pt x="67" y="14"/>
                    </a:lnTo>
                    <a:lnTo>
                      <a:pt x="55" y="24"/>
                    </a:lnTo>
                    <a:lnTo>
                      <a:pt x="55" y="39"/>
                    </a:lnTo>
                    <a:lnTo>
                      <a:pt x="42" y="24"/>
                    </a:lnTo>
                    <a:lnTo>
                      <a:pt x="42" y="39"/>
                    </a:lnTo>
                    <a:lnTo>
                      <a:pt x="55" y="60"/>
                    </a:lnTo>
                    <a:lnTo>
                      <a:pt x="77" y="89"/>
                    </a:lnTo>
                    <a:lnTo>
                      <a:pt x="67" y="89"/>
                    </a:lnTo>
                    <a:lnTo>
                      <a:pt x="67" y="104"/>
                    </a:lnTo>
                    <a:lnTo>
                      <a:pt x="42" y="75"/>
                    </a:lnTo>
                    <a:lnTo>
                      <a:pt x="21" y="75"/>
                    </a:lnTo>
                    <a:lnTo>
                      <a:pt x="0" y="50"/>
                    </a:lnTo>
                    <a:lnTo>
                      <a:pt x="12" y="24"/>
                    </a:lnTo>
                    <a:lnTo>
                      <a:pt x="42" y="14"/>
                    </a:lnTo>
                    <a:lnTo>
                      <a:pt x="67" y="0"/>
                    </a:lnTo>
                    <a:lnTo>
                      <a:pt x="89" y="14"/>
                    </a:lnTo>
                    <a:lnTo>
                      <a:pt x="9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1" name="Freeform 219">
                <a:extLst>
                  <a:ext uri="{FF2B5EF4-FFF2-40B4-BE49-F238E27FC236}">
                    <a16:creationId xmlns:a16="http://schemas.microsoft.com/office/drawing/2014/main" id="{A863C38F-0CDC-4242-91B7-EB1C47AA1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1245" y="2604472"/>
                <a:ext cx="221897" cy="144302"/>
              </a:xfrm>
              <a:custGeom>
                <a:avLst/>
                <a:gdLst/>
                <a:ahLst/>
                <a:cxnLst>
                  <a:cxn ang="0">
                    <a:pos x="141" y="62"/>
                  </a:cxn>
                  <a:cxn ang="0">
                    <a:pos x="131" y="25"/>
                  </a:cxn>
                  <a:cxn ang="0">
                    <a:pos x="106" y="0"/>
                  </a:cxn>
                  <a:cxn ang="0">
                    <a:pos x="76" y="14"/>
                  </a:cxn>
                  <a:cxn ang="0">
                    <a:pos x="42" y="0"/>
                  </a:cxn>
                  <a:cxn ang="0">
                    <a:pos x="31" y="14"/>
                  </a:cxn>
                  <a:cxn ang="0">
                    <a:pos x="21" y="40"/>
                  </a:cxn>
                  <a:cxn ang="0">
                    <a:pos x="9" y="50"/>
                  </a:cxn>
                  <a:cxn ang="0">
                    <a:pos x="0" y="50"/>
                  </a:cxn>
                  <a:cxn ang="0">
                    <a:pos x="31" y="81"/>
                  </a:cxn>
                  <a:cxn ang="0">
                    <a:pos x="42" y="81"/>
                  </a:cxn>
                  <a:cxn ang="0">
                    <a:pos x="51" y="91"/>
                  </a:cxn>
                  <a:cxn ang="0">
                    <a:pos x="64" y="106"/>
                  </a:cxn>
                  <a:cxn ang="0">
                    <a:pos x="98" y="106"/>
                  </a:cxn>
                  <a:cxn ang="0">
                    <a:pos x="119" y="91"/>
                  </a:cxn>
                  <a:cxn ang="0">
                    <a:pos x="153" y="106"/>
                  </a:cxn>
                  <a:cxn ang="0">
                    <a:pos x="141" y="91"/>
                  </a:cxn>
                  <a:cxn ang="0">
                    <a:pos x="163" y="81"/>
                  </a:cxn>
                  <a:cxn ang="0">
                    <a:pos x="163" y="62"/>
                  </a:cxn>
                  <a:cxn ang="0">
                    <a:pos x="141" y="62"/>
                  </a:cxn>
                </a:cxnLst>
                <a:rect l="0" t="0" r="r" b="b"/>
                <a:pathLst>
                  <a:path w="163" h="106">
                    <a:moveTo>
                      <a:pt x="141" y="62"/>
                    </a:moveTo>
                    <a:lnTo>
                      <a:pt x="131" y="25"/>
                    </a:lnTo>
                    <a:lnTo>
                      <a:pt x="106" y="0"/>
                    </a:lnTo>
                    <a:lnTo>
                      <a:pt x="76" y="14"/>
                    </a:lnTo>
                    <a:lnTo>
                      <a:pt x="42" y="0"/>
                    </a:lnTo>
                    <a:lnTo>
                      <a:pt x="31" y="14"/>
                    </a:lnTo>
                    <a:lnTo>
                      <a:pt x="21" y="40"/>
                    </a:lnTo>
                    <a:lnTo>
                      <a:pt x="9" y="50"/>
                    </a:lnTo>
                    <a:lnTo>
                      <a:pt x="0" y="50"/>
                    </a:lnTo>
                    <a:lnTo>
                      <a:pt x="31" y="81"/>
                    </a:lnTo>
                    <a:lnTo>
                      <a:pt x="42" y="81"/>
                    </a:lnTo>
                    <a:lnTo>
                      <a:pt x="51" y="91"/>
                    </a:lnTo>
                    <a:lnTo>
                      <a:pt x="64" y="106"/>
                    </a:lnTo>
                    <a:lnTo>
                      <a:pt x="98" y="106"/>
                    </a:lnTo>
                    <a:lnTo>
                      <a:pt x="119" y="91"/>
                    </a:lnTo>
                    <a:lnTo>
                      <a:pt x="153" y="106"/>
                    </a:lnTo>
                    <a:lnTo>
                      <a:pt x="141" y="91"/>
                    </a:lnTo>
                    <a:lnTo>
                      <a:pt x="163" y="81"/>
                    </a:lnTo>
                    <a:lnTo>
                      <a:pt x="163" y="62"/>
                    </a:lnTo>
                    <a:lnTo>
                      <a:pt x="141" y="6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2" name="Freeform 225">
                <a:extLst>
                  <a:ext uri="{FF2B5EF4-FFF2-40B4-BE49-F238E27FC236}">
                    <a16:creationId xmlns:a16="http://schemas.microsoft.com/office/drawing/2014/main" id="{1E460D89-63CA-4EEC-B455-C89280966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035" y="2690237"/>
                <a:ext cx="91209" cy="87126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43" y="18"/>
                  </a:cxn>
                  <a:cxn ang="0">
                    <a:pos x="12" y="0"/>
                  </a:cxn>
                  <a:cxn ang="0">
                    <a:pos x="0" y="18"/>
                  </a:cxn>
                  <a:cxn ang="0">
                    <a:pos x="12" y="28"/>
                  </a:cxn>
                  <a:cxn ang="0">
                    <a:pos x="43" y="64"/>
                  </a:cxn>
                  <a:cxn ang="0">
                    <a:pos x="43" y="53"/>
                  </a:cxn>
                  <a:cxn ang="0">
                    <a:pos x="51" y="42"/>
                  </a:cxn>
                  <a:cxn ang="0">
                    <a:pos x="67" y="42"/>
                  </a:cxn>
                  <a:cxn ang="0">
                    <a:pos x="51" y="28"/>
                  </a:cxn>
                  <a:cxn ang="0">
                    <a:pos x="51" y="18"/>
                  </a:cxn>
                </a:cxnLst>
                <a:rect l="0" t="0" r="r" b="b"/>
                <a:pathLst>
                  <a:path w="67" h="64">
                    <a:moveTo>
                      <a:pt x="51" y="18"/>
                    </a:moveTo>
                    <a:lnTo>
                      <a:pt x="43" y="18"/>
                    </a:lnTo>
                    <a:lnTo>
                      <a:pt x="12" y="0"/>
                    </a:lnTo>
                    <a:lnTo>
                      <a:pt x="0" y="18"/>
                    </a:lnTo>
                    <a:lnTo>
                      <a:pt x="12" y="28"/>
                    </a:lnTo>
                    <a:lnTo>
                      <a:pt x="43" y="64"/>
                    </a:lnTo>
                    <a:lnTo>
                      <a:pt x="43" y="53"/>
                    </a:lnTo>
                    <a:lnTo>
                      <a:pt x="51" y="42"/>
                    </a:lnTo>
                    <a:lnTo>
                      <a:pt x="67" y="42"/>
                    </a:lnTo>
                    <a:lnTo>
                      <a:pt x="51" y="28"/>
                    </a:lnTo>
                    <a:lnTo>
                      <a:pt x="51" y="1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" name="Freeform 231">
                <a:extLst>
                  <a:ext uri="{FF2B5EF4-FFF2-40B4-BE49-F238E27FC236}">
                    <a16:creationId xmlns:a16="http://schemas.microsoft.com/office/drawing/2014/main" id="{D369E081-3E86-4A3B-BB8D-0FEDF6C06D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3496" y="2797781"/>
                <a:ext cx="58538" cy="54453"/>
              </a:xfrm>
              <a:custGeom>
                <a:avLst/>
                <a:gdLst/>
                <a:ahLst/>
                <a:cxnLst>
                  <a:cxn ang="0">
                    <a:pos x="43" y="28"/>
                  </a:cxn>
                  <a:cxn ang="0">
                    <a:pos x="12" y="40"/>
                  </a:cxn>
                  <a:cxn ang="0">
                    <a:pos x="0" y="14"/>
                  </a:cxn>
                  <a:cxn ang="0">
                    <a:pos x="22" y="0"/>
                  </a:cxn>
                  <a:cxn ang="0">
                    <a:pos x="33" y="0"/>
                  </a:cxn>
                  <a:cxn ang="0">
                    <a:pos x="43" y="28"/>
                  </a:cxn>
                </a:cxnLst>
                <a:rect l="0" t="0" r="r" b="b"/>
                <a:pathLst>
                  <a:path w="43" h="40">
                    <a:moveTo>
                      <a:pt x="43" y="28"/>
                    </a:moveTo>
                    <a:lnTo>
                      <a:pt x="12" y="40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3" y="0"/>
                    </a:lnTo>
                    <a:lnTo>
                      <a:pt x="43" y="2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" name="Freeform 233">
                <a:extLst>
                  <a:ext uri="{FF2B5EF4-FFF2-40B4-BE49-F238E27FC236}">
                    <a16:creationId xmlns:a16="http://schemas.microsoft.com/office/drawing/2014/main" id="{6E9F27E9-1F1E-4B7D-9ED0-FC9E6FDCF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5110" y="2398911"/>
                <a:ext cx="224620" cy="166083"/>
              </a:xfrm>
              <a:custGeom>
                <a:avLst/>
                <a:gdLst/>
                <a:ahLst/>
                <a:cxnLst>
                  <a:cxn ang="0">
                    <a:pos x="152" y="75"/>
                  </a:cxn>
                  <a:cxn ang="0">
                    <a:pos x="165" y="100"/>
                  </a:cxn>
                  <a:cxn ang="0">
                    <a:pos x="131" y="122"/>
                  </a:cxn>
                  <a:cxn ang="0">
                    <a:pos x="122" y="122"/>
                  </a:cxn>
                  <a:cxn ang="0">
                    <a:pos x="100" y="122"/>
                  </a:cxn>
                  <a:cxn ang="0">
                    <a:pos x="55" y="100"/>
                  </a:cxn>
                  <a:cxn ang="0">
                    <a:pos x="45" y="100"/>
                  </a:cxn>
                  <a:cxn ang="0">
                    <a:pos x="33" y="86"/>
                  </a:cxn>
                  <a:cxn ang="0">
                    <a:pos x="9" y="86"/>
                  </a:cxn>
                  <a:cxn ang="0">
                    <a:pos x="0" y="21"/>
                  </a:cxn>
                  <a:cxn ang="0">
                    <a:pos x="64" y="0"/>
                  </a:cxn>
                  <a:cxn ang="0">
                    <a:pos x="76" y="11"/>
                  </a:cxn>
                  <a:cxn ang="0">
                    <a:pos x="85" y="0"/>
                  </a:cxn>
                  <a:cxn ang="0">
                    <a:pos x="131" y="11"/>
                  </a:cxn>
                  <a:cxn ang="0">
                    <a:pos x="143" y="11"/>
                  </a:cxn>
                  <a:cxn ang="0">
                    <a:pos x="152" y="35"/>
                  </a:cxn>
                  <a:cxn ang="0">
                    <a:pos x="143" y="64"/>
                  </a:cxn>
                  <a:cxn ang="0">
                    <a:pos x="152" y="75"/>
                  </a:cxn>
                </a:cxnLst>
                <a:rect l="0" t="0" r="r" b="b"/>
                <a:pathLst>
                  <a:path w="165" h="122">
                    <a:moveTo>
                      <a:pt x="152" y="75"/>
                    </a:moveTo>
                    <a:lnTo>
                      <a:pt x="165" y="100"/>
                    </a:lnTo>
                    <a:lnTo>
                      <a:pt x="131" y="122"/>
                    </a:lnTo>
                    <a:lnTo>
                      <a:pt x="122" y="122"/>
                    </a:lnTo>
                    <a:lnTo>
                      <a:pt x="100" y="122"/>
                    </a:lnTo>
                    <a:lnTo>
                      <a:pt x="55" y="100"/>
                    </a:lnTo>
                    <a:lnTo>
                      <a:pt x="45" y="100"/>
                    </a:lnTo>
                    <a:lnTo>
                      <a:pt x="33" y="86"/>
                    </a:lnTo>
                    <a:lnTo>
                      <a:pt x="9" y="86"/>
                    </a:lnTo>
                    <a:lnTo>
                      <a:pt x="0" y="21"/>
                    </a:lnTo>
                    <a:lnTo>
                      <a:pt x="64" y="0"/>
                    </a:lnTo>
                    <a:lnTo>
                      <a:pt x="76" y="11"/>
                    </a:lnTo>
                    <a:lnTo>
                      <a:pt x="85" y="0"/>
                    </a:lnTo>
                    <a:lnTo>
                      <a:pt x="131" y="11"/>
                    </a:lnTo>
                    <a:lnTo>
                      <a:pt x="143" y="11"/>
                    </a:lnTo>
                    <a:lnTo>
                      <a:pt x="152" y="35"/>
                    </a:lnTo>
                    <a:lnTo>
                      <a:pt x="143" y="64"/>
                    </a:lnTo>
                    <a:lnTo>
                      <a:pt x="152" y="7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" name="Freeform 235">
                <a:extLst>
                  <a:ext uri="{FF2B5EF4-FFF2-40B4-BE49-F238E27FC236}">
                    <a16:creationId xmlns:a16="http://schemas.microsoft.com/office/drawing/2014/main" id="{B3805730-1A7B-43D2-ADF5-E6D246444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028" y="2398911"/>
                <a:ext cx="178334" cy="227343"/>
              </a:xfrm>
              <a:custGeom>
                <a:avLst/>
                <a:gdLst/>
                <a:ahLst/>
                <a:cxnLst>
                  <a:cxn ang="0">
                    <a:pos x="78" y="11"/>
                  </a:cxn>
                  <a:cxn ang="0">
                    <a:pos x="78" y="21"/>
                  </a:cxn>
                  <a:cxn ang="0">
                    <a:pos x="109" y="0"/>
                  </a:cxn>
                  <a:cxn ang="0">
                    <a:pos x="121" y="11"/>
                  </a:cxn>
                  <a:cxn ang="0">
                    <a:pos x="109" y="11"/>
                  </a:cxn>
                  <a:cxn ang="0">
                    <a:pos x="121" y="21"/>
                  </a:cxn>
                  <a:cxn ang="0">
                    <a:pos x="131" y="86"/>
                  </a:cxn>
                  <a:cxn ang="0">
                    <a:pos x="131" y="76"/>
                  </a:cxn>
                  <a:cxn ang="0">
                    <a:pos x="90" y="101"/>
                  </a:cxn>
                  <a:cxn ang="0">
                    <a:pos x="100" y="112"/>
                  </a:cxn>
                  <a:cxn ang="0">
                    <a:pos x="121" y="141"/>
                  </a:cxn>
                  <a:cxn ang="0">
                    <a:pos x="100" y="151"/>
                  </a:cxn>
                  <a:cxn ang="0">
                    <a:pos x="109" y="167"/>
                  </a:cxn>
                  <a:cxn ang="0">
                    <a:pos x="54" y="167"/>
                  </a:cxn>
                  <a:cxn ang="0">
                    <a:pos x="23" y="167"/>
                  </a:cxn>
                  <a:cxn ang="0">
                    <a:pos x="23" y="141"/>
                  </a:cxn>
                  <a:cxn ang="0">
                    <a:pos x="0" y="112"/>
                  </a:cxn>
                  <a:cxn ang="0">
                    <a:pos x="0" y="101"/>
                  </a:cxn>
                  <a:cxn ang="0">
                    <a:pos x="0" y="86"/>
                  </a:cxn>
                  <a:cxn ang="0">
                    <a:pos x="0" y="64"/>
                  </a:cxn>
                  <a:cxn ang="0">
                    <a:pos x="14" y="47"/>
                  </a:cxn>
                  <a:cxn ang="0">
                    <a:pos x="23" y="21"/>
                  </a:cxn>
                  <a:cxn ang="0">
                    <a:pos x="33" y="21"/>
                  </a:cxn>
                  <a:cxn ang="0">
                    <a:pos x="45" y="0"/>
                  </a:cxn>
                  <a:cxn ang="0">
                    <a:pos x="54" y="0"/>
                  </a:cxn>
                  <a:cxn ang="0">
                    <a:pos x="78" y="11"/>
                  </a:cxn>
                </a:cxnLst>
                <a:rect l="0" t="0" r="r" b="b"/>
                <a:pathLst>
                  <a:path w="131" h="167">
                    <a:moveTo>
                      <a:pt x="78" y="11"/>
                    </a:moveTo>
                    <a:lnTo>
                      <a:pt x="78" y="21"/>
                    </a:lnTo>
                    <a:lnTo>
                      <a:pt x="109" y="0"/>
                    </a:lnTo>
                    <a:lnTo>
                      <a:pt x="121" y="11"/>
                    </a:lnTo>
                    <a:lnTo>
                      <a:pt x="109" y="11"/>
                    </a:lnTo>
                    <a:lnTo>
                      <a:pt x="121" y="21"/>
                    </a:lnTo>
                    <a:lnTo>
                      <a:pt x="131" y="86"/>
                    </a:lnTo>
                    <a:lnTo>
                      <a:pt x="131" y="76"/>
                    </a:lnTo>
                    <a:lnTo>
                      <a:pt x="90" y="101"/>
                    </a:lnTo>
                    <a:lnTo>
                      <a:pt x="100" y="112"/>
                    </a:lnTo>
                    <a:lnTo>
                      <a:pt x="121" y="141"/>
                    </a:lnTo>
                    <a:lnTo>
                      <a:pt x="100" y="151"/>
                    </a:lnTo>
                    <a:lnTo>
                      <a:pt x="109" y="167"/>
                    </a:lnTo>
                    <a:lnTo>
                      <a:pt x="54" y="167"/>
                    </a:lnTo>
                    <a:lnTo>
                      <a:pt x="23" y="167"/>
                    </a:lnTo>
                    <a:lnTo>
                      <a:pt x="23" y="141"/>
                    </a:lnTo>
                    <a:lnTo>
                      <a:pt x="0" y="112"/>
                    </a:lnTo>
                    <a:lnTo>
                      <a:pt x="0" y="101"/>
                    </a:lnTo>
                    <a:lnTo>
                      <a:pt x="0" y="86"/>
                    </a:lnTo>
                    <a:lnTo>
                      <a:pt x="0" y="64"/>
                    </a:lnTo>
                    <a:lnTo>
                      <a:pt x="14" y="47"/>
                    </a:lnTo>
                    <a:lnTo>
                      <a:pt x="23" y="21"/>
                    </a:lnTo>
                    <a:lnTo>
                      <a:pt x="33" y="21"/>
                    </a:lnTo>
                    <a:lnTo>
                      <a:pt x="45" y="0"/>
                    </a:lnTo>
                    <a:lnTo>
                      <a:pt x="54" y="0"/>
                    </a:lnTo>
                    <a:lnTo>
                      <a:pt x="78" y="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6" name="Freeform 237">
                <a:extLst>
                  <a:ext uri="{FF2B5EF4-FFF2-40B4-BE49-F238E27FC236}">
                    <a16:creationId xmlns:a16="http://schemas.microsoft.com/office/drawing/2014/main" id="{F5FA912B-2139-4D73-A278-9B41172E1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878" y="2502372"/>
                <a:ext cx="72151" cy="4900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0"/>
                  </a:cxn>
                  <a:cxn ang="0">
                    <a:pos x="21" y="36"/>
                  </a:cxn>
                  <a:cxn ang="0">
                    <a:pos x="31" y="24"/>
                  </a:cxn>
                  <a:cxn ang="0">
                    <a:pos x="31" y="36"/>
                  </a:cxn>
                  <a:cxn ang="0">
                    <a:pos x="43" y="36"/>
                  </a:cxn>
                  <a:cxn ang="0">
                    <a:pos x="53" y="24"/>
                  </a:cxn>
                  <a:cxn ang="0">
                    <a:pos x="53" y="10"/>
                  </a:cxn>
                  <a:cxn ang="0">
                    <a:pos x="31" y="0"/>
                  </a:cxn>
                  <a:cxn ang="0">
                    <a:pos x="9" y="0"/>
                  </a:cxn>
                </a:cxnLst>
                <a:rect l="0" t="0" r="r" b="b"/>
                <a:pathLst>
                  <a:path w="53" h="36">
                    <a:moveTo>
                      <a:pt x="9" y="0"/>
                    </a:moveTo>
                    <a:lnTo>
                      <a:pt x="0" y="10"/>
                    </a:lnTo>
                    <a:lnTo>
                      <a:pt x="21" y="36"/>
                    </a:lnTo>
                    <a:lnTo>
                      <a:pt x="31" y="24"/>
                    </a:lnTo>
                    <a:lnTo>
                      <a:pt x="31" y="36"/>
                    </a:lnTo>
                    <a:lnTo>
                      <a:pt x="43" y="36"/>
                    </a:lnTo>
                    <a:lnTo>
                      <a:pt x="53" y="24"/>
                    </a:lnTo>
                    <a:lnTo>
                      <a:pt x="53" y="10"/>
                    </a:lnTo>
                    <a:lnTo>
                      <a:pt x="3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7" name="Freeform 239">
                <a:extLst>
                  <a:ext uri="{FF2B5EF4-FFF2-40B4-BE49-F238E27FC236}">
                    <a16:creationId xmlns:a16="http://schemas.microsoft.com/office/drawing/2014/main" id="{B244B313-C9E1-40D1-95DF-B00955999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5414" y="1904745"/>
                <a:ext cx="477827" cy="385258"/>
              </a:xfrm>
              <a:custGeom>
                <a:avLst/>
                <a:gdLst/>
                <a:ahLst/>
                <a:cxnLst>
                  <a:cxn ang="0">
                    <a:pos x="208" y="50"/>
                  </a:cxn>
                  <a:cxn ang="0">
                    <a:pos x="216" y="36"/>
                  </a:cxn>
                  <a:cxn ang="0">
                    <a:pos x="241" y="50"/>
                  </a:cxn>
                  <a:cxn ang="0">
                    <a:pos x="274" y="50"/>
                  </a:cxn>
                  <a:cxn ang="0">
                    <a:pos x="283" y="50"/>
                  </a:cxn>
                  <a:cxn ang="0">
                    <a:pos x="283" y="24"/>
                  </a:cxn>
                  <a:cxn ang="0">
                    <a:pos x="308" y="24"/>
                  </a:cxn>
                  <a:cxn ang="0">
                    <a:pos x="330" y="36"/>
                  </a:cxn>
                  <a:cxn ang="0">
                    <a:pos x="330" y="50"/>
                  </a:cxn>
                  <a:cxn ang="0">
                    <a:pos x="351" y="36"/>
                  </a:cxn>
                  <a:cxn ang="0">
                    <a:pos x="317" y="24"/>
                  </a:cxn>
                  <a:cxn ang="0">
                    <a:pos x="351" y="14"/>
                  </a:cxn>
                  <a:cxn ang="0">
                    <a:pos x="317" y="14"/>
                  </a:cxn>
                  <a:cxn ang="0">
                    <a:pos x="308" y="0"/>
                  </a:cxn>
                  <a:cxn ang="0">
                    <a:pos x="296" y="14"/>
                  </a:cxn>
                  <a:cxn ang="0">
                    <a:pos x="283" y="14"/>
                  </a:cxn>
                  <a:cxn ang="0">
                    <a:pos x="274" y="14"/>
                  </a:cxn>
                  <a:cxn ang="0">
                    <a:pos x="274" y="0"/>
                  </a:cxn>
                  <a:cxn ang="0">
                    <a:pos x="262" y="14"/>
                  </a:cxn>
                  <a:cxn ang="0">
                    <a:pos x="241" y="14"/>
                  </a:cxn>
                  <a:cxn ang="0">
                    <a:pos x="216" y="24"/>
                  </a:cxn>
                  <a:cxn ang="0">
                    <a:pos x="186" y="24"/>
                  </a:cxn>
                  <a:cxn ang="0">
                    <a:pos x="164" y="36"/>
                  </a:cxn>
                  <a:cxn ang="0">
                    <a:pos x="164" y="50"/>
                  </a:cxn>
                  <a:cxn ang="0">
                    <a:pos x="177" y="50"/>
                  </a:cxn>
                  <a:cxn ang="0">
                    <a:pos x="164" y="50"/>
                  </a:cxn>
                  <a:cxn ang="0">
                    <a:pos x="152" y="50"/>
                  </a:cxn>
                  <a:cxn ang="0">
                    <a:pos x="152" y="36"/>
                  </a:cxn>
                  <a:cxn ang="0">
                    <a:pos x="131" y="50"/>
                  </a:cxn>
                  <a:cxn ang="0">
                    <a:pos x="140" y="60"/>
                  </a:cxn>
                  <a:cxn ang="0">
                    <a:pos x="152" y="60"/>
                  </a:cxn>
                  <a:cxn ang="0">
                    <a:pos x="119" y="89"/>
                  </a:cxn>
                  <a:cxn ang="0">
                    <a:pos x="100" y="127"/>
                  </a:cxn>
                  <a:cxn ang="0">
                    <a:pos x="64" y="166"/>
                  </a:cxn>
                  <a:cxn ang="0">
                    <a:pos x="54" y="151"/>
                  </a:cxn>
                  <a:cxn ang="0">
                    <a:pos x="42" y="180"/>
                  </a:cxn>
                  <a:cxn ang="0">
                    <a:pos x="33" y="180"/>
                  </a:cxn>
                  <a:cxn ang="0">
                    <a:pos x="0" y="206"/>
                  </a:cxn>
                  <a:cxn ang="0">
                    <a:pos x="0" y="216"/>
                  </a:cxn>
                  <a:cxn ang="0">
                    <a:pos x="0" y="228"/>
                  </a:cxn>
                  <a:cxn ang="0">
                    <a:pos x="9" y="242"/>
                  </a:cxn>
                  <a:cxn ang="0">
                    <a:pos x="0" y="257"/>
                  </a:cxn>
                  <a:cxn ang="0">
                    <a:pos x="9" y="257"/>
                  </a:cxn>
                  <a:cxn ang="0">
                    <a:pos x="9" y="283"/>
                  </a:cxn>
                  <a:cxn ang="0">
                    <a:pos x="33" y="283"/>
                  </a:cxn>
                  <a:cxn ang="0">
                    <a:pos x="76" y="257"/>
                  </a:cxn>
                  <a:cxn ang="0">
                    <a:pos x="88" y="257"/>
                  </a:cxn>
                  <a:cxn ang="0">
                    <a:pos x="100" y="242"/>
                  </a:cxn>
                  <a:cxn ang="0">
                    <a:pos x="109" y="242"/>
                  </a:cxn>
                  <a:cxn ang="0">
                    <a:pos x="100" y="216"/>
                  </a:cxn>
                  <a:cxn ang="0">
                    <a:pos x="109" y="216"/>
                  </a:cxn>
                  <a:cxn ang="0">
                    <a:pos x="100" y="180"/>
                  </a:cxn>
                  <a:cxn ang="0">
                    <a:pos x="100" y="151"/>
                  </a:cxn>
                  <a:cxn ang="0">
                    <a:pos x="131" y="151"/>
                  </a:cxn>
                  <a:cxn ang="0">
                    <a:pos x="119" y="141"/>
                  </a:cxn>
                  <a:cxn ang="0">
                    <a:pos x="131" y="101"/>
                  </a:cxn>
                  <a:cxn ang="0">
                    <a:pos x="152" y="89"/>
                  </a:cxn>
                  <a:cxn ang="0">
                    <a:pos x="164" y="60"/>
                  </a:cxn>
                  <a:cxn ang="0">
                    <a:pos x="177" y="60"/>
                  </a:cxn>
                  <a:cxn ang="0">
                    <a:pos x="186" y="50"/>
                  </a:cxn>
                  <a:cxn ang="0">
                    <a:pos x="208" y="60"/>
                  </a:cxn>
                  <a:cxn ang="0">
                    <a:pos x="208" y="50"/>
                  </a:cxn>
                </a:cxnLst>
                <a:rect l="0" t="0" r="r" b="b"/>
                <a:pathLst>
                  <a:path w="351" h="283">
                    <a:moveTo>
                      <a:pt x="208" y="50"/>
                    </a:moveTo>
                    <a:lnTo>
                      <a:pt x="216" y="36"/>
                    </a:lnTo>
                    <a:lnTo>
                      <a:pt x="241" y="50"/>
                    </a:lnTo>
                    <a:lnTo>
                      <a:pt x="274" y="50"/>
                    </a:lnTo>
                    <a:lnTo>
                      <a:pt x="283" y="50"/>
                    </a:lnTo>
                    <a:lnTo>
                      <a:pt x="283" y="24"/>
                    </a:lnTo>
                    <a:lnTo>
                      <a:pt x="308" y="24"/>
                    </a:lnTo>
                    <a:lnTo>
                      <a:pt x="330" y="36"/>
                    </a:lnTo>
                    <a:lnTo>
                      <a:pt x="330" y="50"/>
                    </a:lnTo>
                    <a:lnTo>
                      <a:pt x="351" y="36"/>
                    </a:lnTo>
                    <a:lnTo>
                      <a:pt x="317" y="24"/>
                    </a:lnTo>
                    <a:lnTo>
                      <a:pt x="351" y="14"/>
                    </a:lnTo>
                    <a:lnTo>
                      <a:pt x="317" y="14"/>
                    </a:lnTo>
                    <a:lnTo>
                      <a:pt x="308" y="0"/>
                    </a:lnTo>
                    <a:lnTo>
                      <a:pt x="296" y="14"/>
                    </a:lnTo>
                    <a:lnTo>
                      <a:pt x="283" y="14"/>
                    </a:lnTo>
                    <a:lnTo>
                      <a:pt x="274" y="14"/>
                    </a:lnTo>
                    <a:lnTo>
                      <a:pt x="274" y="0"/>
                    </a:lnTo>
                    <a:lnTo>
                      <a:pt x="262" y="14"/>
                    </a:lnTo>
                    <a:lnTo>
                      <a:pt x="241" y="14"/>
                    </a:lnTo>
                    <a:lnTo>
                      <a:pt x="216" y="24"/>
                    </a:lnTo>
                    <a:lnTo>
                      <a:pt x="186" y="24"/>
                    </a:lnTo>
                    <a:lnTo>
                      <a:pt x="164" y="36"/>
                    </a:lnTo>
                    <a:lnTo>
                      <a:pt x="164" y="50"/>
                    </a:lnTo>
                    <a:lnTo>
                      <a:pt x="177" y="50"/>
                    </a:lnTo>
                    <a:lnTo>
                      <a:pt x="164" y="50"/>
                    </a:lnTo>
                    <a:lnTo>
                      <a:pt x="152" y="50"/>
                    </a:lnTo>
                    <a:lnTo>
                      <a:pt x="152" y="36"/>
                    </a:lnTo>
                    <a:lnTo>
                      <a:pt x="131" y="50"/>
                    </a:lnTo>
                    <a:lnTo>
                      <a:pt x="140" y="60"/>
                    </a:lnTo>
                    <a:lnTo>
                      <a:pt x="152" y="60"/>
                    </a:lnTo>
                    <a:lnTo>
                      <a:pt x="119" y="89"/>
                    </a:lnTo>
                    <a:lnTo>
                      <a:pt x="100" y="127"/>
                    </a:lnTo>
                    <a:lnTo>
                      <a:pt x="64" y="166"/>
                    </a:lnTo>
                    <a:lnTo>
                      <a:pt x="54" y="151"/>
                    </a:lnTo>
                    <a:lnTo>
                      <a:pt x="42" y="180"/>
                    </a:lnTo>
                    <a:lnTo>
                      <a:pt x="33" y="180"/>
                    </a:lnTo>
                    <a:lnTo>
                      <a:pt x="0" y="206"/>
                    </a:lnTo>
                    <a:lnTo>
                      <a:pt x="0" y="216"/>
                    </a:lnTo>
                    <a:lnTo>
                      <a:pt x="0" y="228"/>
                    </a:lnTo>
                    <a:lnTo>
                      <a:pt x="9" y="242"/>
                    </a:lnTo>
                    <a:lnTo>
                      <a:pt x="0" y="257"/>
                    </a:lnTo>
                    <a:lnTo>
                      <a:pt x="9" y="257"/>
                    </a:lnTo>
                    <a:lnTo>
                      <a:pt x="9" y="283"/>
                    </a:lnTo>
                    <a:lnTo>
                      <a:pt x="33" y="283"/>
                    </a:lnTo>
                    <a:lnTo>
                      <a:pt x="76" y="257"/>
                    </a:lnTo>
                    <a:lnTo>
                      <a:pt x="88" y="257"/>
                    </a:lnTo>
                    <a:lnTo>
                      <a:pt x="100" y="242"/>
                    </a:lnTo>
                    <a:lnTo>
                      <a:pt x="109" y="242"/>
                    </a:lnTo>
                    <a:lnTo>
                      <a:pt x="100" y="216"/>
                    </a:lnTo>
                    <a:lnTo>
                      <a:pt x="109" y="216"/>
                    </a:lnTo>
                    <a:lnTo>
                      <a:pt x="100" y="180"/>
                    </a:lnTo>
                    <a:lnTo>
                      <a:pt x="100" y="151"/>
                    </a:lnTo>
                    <a:lnTo>
                      <a:pt x="131" y="151"/>
                    </a:lnTo>
                    <a:lnTo>
                      <a:pt x="119" y="141"/>
                    </a:lnTo>
                    <a:lnTo>
                      <a:pt x="131" y="101"/>
                    </a:lnTo>
                    <a:lnTo>
                      <a:pt x="152" y="89"/>
                    </a:lnTo>
                    <a:lnTo>
                      <a:pt x="164" y="60"/>
                    </a:lnTo>
                    <a:lnTo>
                      <a:pt x="177" y="60"/>
                    </a:lnTo>
                    <a:lnTo>
                      <a:pt x="186" y="50"/>
                    </a:lnTo>
                    <a:lnTo>
                      <a:pt x="208" y="60"/>
                    </a:lnTo>
                    <a:lnTo>
                      <a:pt x="208" y="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8" name="Freeform 241">
                <a:extLst>
                  <a:ext uri="{FF2B5EF4-FFF2-40B4-BE49-F238E27FC236}">
                    <a16:creationId xmlns:a16="http://schemas.microsoft.com/office/drawing/2014/main" id="{6CBBE440-0D27-4E88-AF8A-635623A03F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5212" y="1974173"/>
                <a:ext cx="238233" cy="405679"/>
              </a:xfrm>
              <a:custGeom>
                <a:avLst/>
                <a:gdLst/>
                <a:ahLst/>
                <a:cxnLst>
                  <a:cxn ang="0">
                    <a:pos x="12" y="192"/>
                  </a:cxn>
                  <a:cxn ang="0">
                    <a:pos x="0" y="206"/>
                  </a:cxn>
                  <a:cxn ang="0">
                    <a:pos x="21" y="269"/>
                  </a:cxn>
                  <a:cxn ang="0">
                    <a:pos x="31" y="298"/>
                  </a:cxn>
                  <a:cxn ang="0">
                    <a:pos x="43" y="298"/>
                  </a:cxn>
                  <a:cxn ang="0">
                    <a:pos x="52" y="269"/>
                  </a:cxn>
                  <a:cxn ang="0">
                    <a:pos x="76" y="269"/>
                  </a:cxn>
                  <a:cxn ang="0">
                    <a:pos x="89" y="221"/>
                  </a:cxn>
                  <a:cxn ang="0">
                    <a:pos x="107" y="206"/>
                  </a:cxn>
                  <a:cxn ang="0">
                    <a:pos x="98" y="206"/>
                  </a:cxn>
                  <a:cxn ang="0">
                    <a:pos x="107" y="192"/>
                  </a:cxn>
                  <a:cxn ang="0">
                    <a:pos x="89" y="167"/>
                  </a:cxn>
                  <a:cxn ang="0">
                    <a:pos x="89" y="141"/>
                  </a:cxn>
                  <a:cxn ang="0">
                    <a:pos x="143" y="91"/>
                  </a:cxn>
                  <a:cxn ang="0">
                    <a:pos x="153" y="65"/>
                  </a:cxn>
                  <a:cxn ang="0">
                    <a:pos x="175" y="65"/>
                  </a:cxn>
                  <a:cxn ang="0">
                    <a:pos x="165" y="11"/>
                  </a:cxn>
                  <a:cxn ang="0">
                    <a:pos x="120" y="0"/>
                  </a:cxn>
                  <a:cxn ang="0">
                    <a:pos x="120" y="11"/>
                  </a:cxn>
                  <a:cxn ang="0">
                    <a:pos x="98" y="0"/>
                  </a:cxn>
                  <a:cxn ang="0">
                    <a:pos x="89" y="11"/>
                  </a:cxn>
                  <a:cxn ang="0">
                    <a:pos x="76" y="11"/>
                  </a:cxn>
                  <a:cxn ang="0">
                    <a:pos x="64" y="40"/>
                  </a:cxn>
                  <a:cxn ang="0">
                    <a:pos x="43" y="50"/>
                  </a:cxn>
                  <a:cxn ang="0">
                    <a:pos x="31" y="91"/>
                  </a:cxn>
                  <a:cxn ang="0">
                    <a:pos x="43" y="101"/>
                  </a:cxn>
                  <a:cxn ang="0">
                    <a:pos x="12" y="101"/>
                  </a:cxn>
                  <a:cxn ang="0">
                    <a:pos x="12" y="130"/>
                  </a:cxn>
                  <a:cxn ang="0">
                    <a:pos x="21" y="167"/>
                  </a:cxn>
                  <a:cxn ang="0">
                    <a:pos x="12" y="167"/>
                  </a:cxn>
                  <a:cxn ang="0">
                    <a:pos x="21" y="192"/>
                  </a:cxn>
                  <a:cxn ang="0">
                    <a:pos x="12" y="192"/>
                  </a:cxn>
                </a:cxnLst>
                <a:rect l="0" t="0" r="r" b="b"/>
                <a:pathLst>
                  <a:path w="175" h="298">
                    <a:moveTo>
                      <a:pt x="12" y="192"/>
                    </a:moveTo>
                    <a:lnTo>
                      <a:pt x="0" y="206"/>
                    </a:lnTo>
                    <a:lnTo>
                      <a:pt x="21" y="269"/>
                    </a:lnTo>
                    <a:lnTo>
                      <a:pt x="31" y="298"/>
                    </a:lnTo>
                    <a:lnTo>
                      <a:pt x="43" y="298"/>
                    </a:lnTo>
                    <a:lnTo>
                      <a:pt x="52" y="269"/>
                    </a:lnTo>
                    <a:lnTo>
                      <a:pt x="76" y="269"/>
                    </a:lnTo>
                    <a:lnTo>
                      <a:pt x="89" y="221"/>
                    </a:lnTo>
                    <a:lnTo>
                      <a:pt x="107" y="206"/>
                    </a:lnTo>
                    <a:lnTo>
                      <a:pt x="98" y="206"/>
                    </a:lnTo>
                    <a:lnTo>
                      <a:pt x="107" y="192"/>
                    </a:lnTo>
                    <a:lnTo>
                      <a:pt x="89" y="167"/>
                    </a:lnTo>
                    <a:lnTo>
                      <a:pt x="89" y="141"/>
                    </a:lnTo>
                    <a:lnTo>
                      <a:pt x="143" y="91"/>
                    </a:lnTo>
                    <a:lnTo>
                      <a:pt x="153" y="65"/>
                    </a:lnTo>
                    <a:lnTo>
                      <a:pt x="175" y="65"/>
                    </a:lnTo>
                    <a:lnTo>
                      <a:pt x="165" y="11"/>
                    </a:lnTo>
                    <a:lnTo>
                      <a:pt x="120" y="0"/>
                    </a:lnTo>
                    <a:lnTo>
                      <a:pt x="120" y="11"/>
                    </a:lnTo>
                    <a:lnTo>
                      <a:pt x="98" y="0"/>
                    </a:lnTo>
                    <a:lnTo>
                      <a:pt x="89" y="11"/>
                    </a:lnTo>
                    <a:lnTo>
                      <a:pt x="76" y="11"/>
                    </a:lnTo>
                    <a:lnTo>
                      <a:pt x="64" y="40"/>
                    </a:lnTo>
                    <a:lnTo>
                      <a:pt x="43" y="50"/>
                    </a:lnTo>
                    <a:lnTo>
                      <a:pt x="31" y="91"/>
                    </a:lnTo>
                    <a:lnTo>
                      <a:pt x="43" y="101"/>
                    </a:lnTo>
                    <a:lnTo>
                      <a:pt x="12" y="101"/>
                    </a:lnTo>
                    <a:lnTo>
                      <a:pt x="12" y="130"/>
                    </a:lnTo>
                    <a:lnTo>
                      <a:pt x="21" y="167"/>
                    </a:lnTo>
                    <a:lnTo>
                      <a:pt x="12" y="167"/>
                    </a:lnTo>
                    <a:lnTo>
                      <a:pt x="21" y="192"/>
                    </a:lnTo>
                    <a:lnTo>
                      <a:pt x="12" y="19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9" name="Freeform 243">
                <a:extLst>
                  <a:ext uri="{FF2B5EF4-FFF2-40B4-BE49-F238E27FC236}">
                    <a16:creationId xmlns:a16="http://schemas.microsoft.com/office/drawing/2014/main" id="{1EC87B24-23A0-48B1-97B8-479E80E40E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8571" y="1938778"/>
                <a:ext cx="224620" cy="295411"/>
              </a:xfrm>
              <a:custGeom>
                <a:avLst/>
                <a:gdLst/>
                <a:ahLst/>
                <a:cxnLst>
                  <a:cxn ang="0">
                    <a:pos x="122" y="25"/>
                  </a:cxn>
                  <a:cxn ang="0">
                    <a:pos x="122" y="11"/>
                  </a:cxn>
                  <a:cxn ang="0">
                    <a:pos x="101" y="0"/>
                  </a:cxn>
                  <a:cxn ang="0">
                    <a:pos x="76" y="0"/>
                  </a:cxn>
                  <a:cxn ang="0">
                    <a:pos x="76" y="25"/>
                  </a:cxn>
                  <a:cxn ang="0">
                    <a:pos x="67" y="25"/>
                  </a:cxn>
                  <a:cxn ang="0">
                    <a:pos x="34" y="25"/>
                  </a:cxn>
                  <a:cxn ang="0">
                    <a:pos x="9" y="11"/>
                  </a:cxn>
                  <a:cxn ang="0">
                    <a:pos x="0" y="25"/>
                  </a:cxn>
                  <a:cxn ang="0">
                    <a:pos x="46" y="37"/>
                  </a:cxn>
                  <a:cxn ang="0">
                    <a:pos x="55" y="90"/>
                  </a:cxn>
                  <a:cxn ang="0">
                    <a:pos x="67" y="90"/>
                  </a:cxn>
                  <a:cxn ang="0">
                    <a:pos x="76" y="90"/>
                  </a:cxn>
                  <a:cxn ang="0">
                    <a:pos x="76" y="101"/>
                  </a:cxn>
                  <a:cxn ang="0">
                    <a:pos x="34" y="155"/>
                  </a:cxn>
                  <a:cxn ang="0">
                    <a:pos x="24" y="155"/>
                  </a:cxn>
                  <a:cxn ang="0">
                    <a:pos x="34" y="181"/>
                  </a:cxn>
                  <a:cxn ang="0">
                    <a:pos x="34" y="202"/>
                  </a:cxn>
                  <a:cxn ang="0">
                    <a:pos x="67" y="217"/>
                  </a:cxn>
                  <a:cxn ang="0">
                    <a:pos x="122" y="202"/>
                  </a:cxn>
                  <a:cxn ang="0">
                    <a:pos x="165" y="155"/>
                  </a:cxn>
                  <a:cxn ang="0">
                    <a:pos x="155" y="126"/>
                  </a:cxn>
                  <a:cxn ang="0">
                    <a:pos x="155" y="116"/>
                  </a:cxn>
                  <a:cxn ang="0">
                    <a:pos x="143" y="101"/>
                  </a:cxn>
                  <a:cxn ang="0">
                    <a:pos x="143" y="90"/>
                  </a:cxn>
                  <a:cxn ang="0">
                    <a:pos x="130" y="64"/>
                  </a:cxn>
                  <a:cxn ang="0">
                    <a:pos x="130" y="47"/>
                  </a:cxn>
                  <a:cxn ang="0">
                    <a:pos x="110" y="37"/>
                  </a:cxn>
                  <a:cxn ang="0">
                    <a:pos x="110" y="25"/>
                  </a:cxn>
                  <a:cxn ang="0">
                    <a:pos x="122" y="25"/>
                  </a:cxn>
                </a:cxnLst>
                <a:rect l="0" t="0" r="r" b="b"/>
                <a:pathLst>
                  <a:path w="165" h="217">
                    <a:moveTo>
                      <a:pt x="122" y="25"/>
                    </a:moveTo>
                    <a:lnTo>
                      <a:pt x="122" y="11"/>
                    </a:lnTo>
                    <a:lnTo>
                      <a:pt x="101" y="0"/>
                    </a:lnTo>
                    <a:lnTo>
                      <a:pt x="76" y="0"/>
                    </a:lnTo>
                    <a:lnTo>
                      <a:pt x="76" y="25"/>
                    </a:lnTo>
                    <a:lnTo>
                      <a:pt x="67" y="25"/>
                    </a:lnTo>
                    <a:lnTo>
                      <a:pt x="34" y="25"/>
                    </a:lnTo>
                    <a:lnTo>
                      <a:pt x="9" y="11"/>
                    </a:lnTo>
                    <a:lnTo>
                      <a:pt x="0" y="25"/>
                    </a:lnTo>
                    <a:lnTo>
                      <a:pt x="46" y="37"/>
                    </a:lnTo>
                    <a:lnTo>
                      <a:pt x="55" y="90"/>
                    </a:lnTo>
                    <a:lnTo>
                      <a:pt x="67" y="90"/>
                    </a:lnTo>
                    <a:lnTo>
                      <a:pt x="76" y="90"/>
                    </a:lnTo>
                    <a:lnTo>
                      <a:pt x="76" y="101"/>
                    </a:lnTo>
                    <a:lnTo>
                      <a:pt x="34" y="155"/>
                    </a:lnTo>
                    <a:lnTo>
                      <a:pt x="24" y="155"/>
                    </a:lnTo>
                    <a:lnTo>
                      <a:pt x="34" y="181"/>
                    </a:lnTo>
                    <a:lnTo>
                      <a:pt x="34" y="202"/>
                    </a:lnTo>
                    <a:lnTo>
                      <a:pt x="67" y="217"/>
                    </a:lnTo>
                    <a:lnTo>
                      <a:pt x="122" y="202"/>
                    </a:lnTo>
                    <a:lnTo>
                      <a:pt x="165" y="155"/>
                    </a:lnTo>
                    <a:lnTo>
                      <a:pt x="155" y="126"/>
                    </a:lnTo>
                    <a:lnTo>
                      <a:pt x="155" y="116"/>
                    </a:lnTo>
                    <a:lnTo>
                      <a:pt x="143" y="101"/>
                    </a:lnTo>
                    <a:lnTo>
                      <a:pt x="143" y="90"/>
                    </a:lnTo>
                    <a:lnTo>
                      <a:pt x="130" y="64"/>
                    </a:lnTo>
                    <a:lnTo>
                      <a:pt x="130" y="47"/>
                    </a:lnTo>
                    <a:lnTo>
                      <a:pt x="110" y="37"/>
                    </a:lnTo>
                    <a:lnTo>
                      <a:pt x="110" y="25"/>
                    </a:lnTo>
                    <a:lnTo>
                      <a:pt x="122" y="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0" name="Freeform 301">
                <a:extLst>
                  <a:ext uri="{FF2B5EF4-FFF2-40B4-BE49-F238E27FC236}">
                    <a16:creationId xmlns:a16="http://schemas.microsoft.com/office/drawing/2014/main" id="{370215FF-3BF6-434F-8BF5-6990CA1F2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2591" y="2304978"/>
                <a:ext cx="61260" cy="92571"/>
              </a:xfrm>
              <a:custGeom>
                <a:avLst/>
                <a:gdLst/>
                <a:ahLst/>
                <a:cxnLst>
                  <a:cxn ang="0">
                    <a:pos x="12" y="68"/>
                  </a:cxn>
                  <a:cxn ang="0">
                    <a:pos x="12" y="53"/>
                  </a:cxn>
                  <a:cxn ang="0">
                    <a:pos x="0" y="42"/>
                  </a:cxn>
                  <a:cxn ang="0">
                    <a:pos x="0" y="25"/>
                  </a:cxn>
                  <a:cxn ang="0">
                    <a:pos x="12" y="14"/>
                  </a:cxn>
                  <a:cxn ang="0">
                    <a:pos x="33" y="0"/>
                  </a:cxn>
                  <a:cxn ang="0">
                    <a:pos x="33" y="25"/>
                  </a:cxn>
                  <a:cxn ang="0">
                    <a:pos x="45" y="25"/>
                  </a:cxn>
                  <a:cxn ang="0">
                    <a:pos x="33" y="42"/>
                  </a:cxn>
                  <a:cxn ang="0">
                    <a:pos x="21" y="68"/>
                  </a:cxn>
                  <a:cxn ang="0">
                    <a:pos x="12" y="68"/>
                  </a:cxn>
                </a:cxnLst>
                <a:rect l="0" t="0" r="r" b="b"/>
                <a:pathLst>
                  <a:path w="45" h="68">
                    <a:moveTo>
                      <a:pt x="12" y="68"/>
                    </a:moveTo>
                    <a:lnTo>
                      <a:pt x="12" y="53"/>
                    </a:lnTo>
                    <a:lnTo>
                      <a:pt x="0" y="42"/>
                    </a:lnTo>
                    <a:lnTo>
                      <a:pt x="0" y="25"/>
                    </a:lnTo>
                    <a:lnTo>
                      <a:pt x="12" y="14"/>
                    </a:lnTo>
                    <a:lnTo>
                      <a:pt x="33" y="0"/>
                    </a:lnTo>
                    <a:lnTo>
                      <a:pt x="33" y="25"/>
                    </a:lnTo>
                    <a:lnTo>
                      <a:pt x="45" y="25"/>
                    </a:lnTo>
                    <a:lnTo>
                      <a:pt x="33" y="42"/>
                    </a:lnTo>
                    <a:lnTo>
                      <a:pt x="21" y="68"/>
                    </a:lnTo>
                    <a:lnTo>
                      <a:pt x="12" y="6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1" name="Freeform 303">
                <a:extLst>
                  <a:ext uri="{FF2B5EF4-FFF2-40B4-BE49-F238E27FC236}">
                    <a16:creationId xmlns:a16="http://schemas.microsoft.com/office/drawing/2014/main" id="{D3C0FA20-FD22-4E82-9185-DB05185F1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2539" y="2564993"/>
                <a:ext cx="167444" cy="93932"/>
              </a:xfrm>
              <a:custGeom>
                <a:avLst/>
                <a:gdLst/>
                <a:ahLst/>
                <a:cxnLst>
                  <a:cxn ang="0">
                    <a:pos x="0" y="43"/>
                  </a:cxn>
                  <a:cxn ang="0">
                    <a:pos x="55" y="43"/>
                  </a:cxn>
                  <a:cxn ang="0">
                    <a:pos x="45" y="28"/>
                  </a:cxn>
                  <a:cxn ang="0">
                    <a:pos x="67" y="18"/>
                  </a:cxn>
                  <a:cxn ang="0">
                    <a:pos x="77" y="18"/>
                  </a:cxn>
                  <a:cxn ang="0">
                    <a:pos x="88" y="0"/>
                  </a:cxn>
                  <a:cxn ang="0">
                    <a:pos x="113" y="18"/>
                  </a:cxn>
                  <a:cxn ang="0">
                    <a:pos x="123" y="28"/>
                  </a:cxn>
                  <a:cxn ang="0">
                    <a:pos x="101" y="54"/>
                  </a:cxn>
                  <a:cxn ang="0">
                    <a:pos x="67" y="69"/>
                  </a:cxn>
                  <a:cxn ang="0">
                    <a:pos x="45" y="54"/>
                  </a:cxn>
                  <a:cxn ang="0">
                    <a:pos x="36" y="54"/>
                  </a:cxn>
                  <a:cxn ang="0">
                    <a:pos x="12" y="54"/>
                  </a:cxn>
                  <a:cxn ang="0">
                    <a:pos x="0" y="54"/>
                  </a:cxn>
                  <a:cxn ang="0">
                    <a:pos x="0" y="43"/>
                  </a:cxn>
                </a:cxnLst>
                <a:rect l="0" t="0" r="r" b="b"/>
                <a:pathLst>
                  <a:path w="123" h="69">
                    <a:moveTo>
                      <a:pt x="0" y="43"/>
                    </a:moveTo>
                    <a:lnTo>
                      <a:pt x="55" y="43"/>
                    </a:lnTo>
                    <a:lnTo>
                      <a:pt x="45" y="28"/>
                    </a:lnTo>
                    <a:lnTo>
                      <a:pt x="67" y="18"/>
                    </a:lnTo>
                    <a:lnTo>
                      <a:pt x="77" y="18"/>
                    </a:lnTo>
                    <a:lnTo>
                      <a:pt x="88" y="0"/>
                    </a:lnTo>
                    <a:lnTo>
                      <a:pt x="113" y="18"/>
                    </a:lnTo>
                    <a:lnTo>
                      <a:pt x="123" y="28"/>
                    </a:lnTo>
                    <a:lnTo>
                      <a:pt x="101" y="54"/>
                    </a:lnTo>
                    <a:lnTo>
                      <a:pt x="67" y="69"/>
                    </a:lnTo>
                    <a:lnTo>
                      <a:pt x="45" y="54"/>
                    </a:lnTo>
                    <a:lnTo>
                      <a:pt x="36" y="54"/>
                    </a:lnTo>
                    <a:lnTo>
                      <a:pt x="12" y="54"/>
                    </a:lnTo>
                    <a:lnTo>
                      <a:pt x="0" y="54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2" name="Freeform 305">
                <a:extLst>
                  <a:ext uri="{FF2B5EF4-FFF2-40B4-BE49-F238E27FC236}">
                    <a16:creationId xmlns:a16="http://schemas.microsoft.com/office/drawing/2014/main" id="{413AC976-41D6-4DDB-9D33-4FF5C2796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5414" y="2626254"/>
                <a:ext cx="104823" cy="49008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42" y="24"/>
                  </a:cxn>
                  <a:cxn ang="0">
                    <a:pos x="55" y="36"/>
                  </a:cxn>
                  <a:cxn ang="0">
                    <a:pos x="55" y="24"/>
                  </a:cxn>
                  <a:cxn ang="0">
                    <a:pos x="64" y="24"/>
                  </a:cxn>
                  <a:cxn ang="0">
                    <a:pos x="77" y="10"/>
                  </a:cxn>
                  <a:cxn ang="0">
                    <a:pos x="64" y="10"/>
                  </a:cxn>
                  <a:cxn ang="0">
                    <a:pos x="64" y="0"/>
                  </a:cxn>
                  <a:cxn ang="0">
                    <a:pos x="33" y="0"/>
                  </a:cxn>
                  <a:cxn ang="0">
                    <a:pos x="23" y="0"/>
                  </a:cxn>
                  <a:cxn ang="0">
                    <a:pos x="0" y="24"/>
                  </a:cxn>
                  <a:cxn ang="0">
                    <a:pos x="9" y="36"/>
                  </a:cxn>
                  <a:cxn ang="0">
                    <a:pos x="9" y="24"/>
                  </a:cxn>
                  <a:cxn ang="0">
                    <a:pos x="23" y="36"/>
                  </a:cxn>
                </a:cxnLst>
                <a:rect l="0" t="0" r="r" b="b"/>
                <a:pathLst>
                  <a:path w="77" h="36">
                    <a:moveTo>
                      <a:pt x="23" y="36"/>
                    </a:moveTo>
                    <a:lnTo>
                      <a:pt x="42" y="24"/>
                    </a:lnTo>
                    <a:lnTo>
                      <a:pt x="55" y="36"/>
                    </a:lnTo>
                    <a:lnTo>
                      <a:pt x="55" y="24"/>
                    </a:lnTo>
                    <a:lnTo>
                      <a:pt x="64" y="24"/>
                    </a:lnTo>
                    <a:lnTo>
                      <a:pt x="77" y="10"/>
                    </a:lnTo>
                    <a:lnTo>
                      <a:pt x="64" y="10"/>
                    </a:lnTo>
                    <a:lnTo>
                      <a:pt x="64" y="0"/>
                    </a:lnTo>
                    <a:lnTo>
                      <a:pt x="33" y="0"/>
                    </a:lnTo>
                    <a:lnTo>
                      <a:pt x="23" y="0"/>
                    </a:lnTo>
                    <a:lnTo>
                      <a:pt x="0" y="24"/>
                    </a:lnTo>
                    <a:lnTo>
                      <a:pt x="9" y="36"/>
                    </a:lnTo>
                    <a:lnTo>
                      <a:pt x="9" y="24"/>
                    </a:lnTo>
                    <a:lnTo>
                      <a:pt x="23" y="3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3" name="Freeform 307">
                <a:extLst>
                  <a:ext uri="{FF2B5EF4-FFF2-40B4-BE49-F238E27FC236}">
                    <a16:creationId xmlns:a16="http://schemas.microsoft.com/office/drawing/2014/main" id="{813B1AED-430F-46EB-917D-39311B724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1245" y="2777363"/>
                <a:ext cx="35395" cy="107545"/>
              </a:xfrm>
              <a:custGeom>
                <a:avLst/>
                <a:gdLst/>
                <a:ahLst/>
                <a:cxnLst>
                  <a:cxn ang="0">
                    <a:pos x="11" y="28"/>
                  </a:cxn>
                  <a:cxn ang="0">
                    <a:pos x="11" y="0"/>
                  </a:cxn>
                  <a:cxn ang="0">
                    <a:pos x="0" y="0"/>
                  </a:cxn>
                  <a:cxn ang="0">
                    <a:pos x="0" y="28"/>
                  </a:cxn>
                  <a:cxn ang="0">
                    <a:pos x="0" y="68"/>
                  </a:cxn>
                  <a:cxn ang="0">
                    <a:pos x="11" y="79"/>
                  </a:cxn>
                  <a:cxn ang="0">
                    <a:pos x="26" y="54"/>
                  </a:cxn>
                  <a:cxn ang="0">
                    <a:pos x="11" y="28"/>
                  </a:cxn>
                </a:cxnLst>
                <a:rect l="0" t="0" r="r" b="b"/>
                <a:pathLst>
                  <a:path w="26" h="79">
                    <a:moveTo>
                      <a:pt x="11" y="28"/>
                    </a:moveTo>
                    <a:lnTo>
                      <a:pt x="11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0" y="68"/>
                    </a:lnTo>
                    <a:lnTo>
                      <a:pt x="11" y="79"/>
                    </a:lnTo>
                    <a:lnTo>
                      <a:pt x="26" y="54"/>
                    </a:lnTo>
                    <a:lnTo>
                      <a:pt x="11" y="2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4" name="Freeform 309">
                <a:extLst>
                  <a:ext uri="{FF2B5EF4-FFF2-40B4-BE49-F238E27FC236}">
                    <a16:creationId xmlns:a16="http://schemas.microsoft.com/office/drawing/2014/main" id="{F19D48A7-2B64-4A34-8F81-5E387D95E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035" y="2590859"/>
                <a:ext cx="149746" cy="84403"/>
              </a:xfrm>
              <a:custGeom>
                <a:avLst/>
                <a:gdLst/>
                <a:ahLst/>
                <a:cxnLst>
                  <a:cxn ang="0">
                    <a:pos x="12" y="50"/>
                  </a:cxn>
                  <a:cxn ang="0">
                    <a:pos x="0" y="36"/>
                  </a:cxn>
                  <a:cxn ang="0">
                    <a:pos x="21" y="10"/>
                  </a:cxn>
                  <a:cxn ang="0">
                    <a:pos x="43" y="24"/>
                  </a:cxn>
                  <a:cxn ang="0">
                    <a:pos x="76" y="0"/>
                  </a:cxn>
                  <a:cxn ang="0">
                    <a:pos x="98" y="0"/>
                  </a:cxn>
                  <a:cxn ang="0">
                    <a:pos x="98" y="10"/>
                  </a:cxn>
                  <a:cxn ang="0">
                    <a:pos x="110" y="10"/>
                  </a:cxn>
                  <a:cxn ang="0">
                    <a:pos x="98" y="24"/>
                  </a:cxn>
                  <a:cxn ang="0">
                    <a:pos x="89" y="50"/>
                  </a:cxn>
                  <a:cxn ang="0">
                    <a:pos x="76" y="62"/>
                  </a:cxn>
                  <a:cxn ang="0">
                    <a:pos x="31" y="62"/>
                  </a:cxn>
                  <a:cxn ang="0">
                    <a:pos x="12" y="50"/>
                  </a:cxn>
                </a:cxnLst>
                <a:rect l="0" t="0" r="r" b="b"/>
                <a:pathLst>
                  <a:path w="110" h="62">
                    <a:moveTo>
                      <a:pt x="12" y="50"/>
                    </a:moveTo>
                    <a:lnTo>
                      <a:pt x="0" y="36"/>
                    </a:lnTo>
                    <a:lnTo>
                      <a:pt x="21" y="10"/>
                    </a:lnTo>
                    <a:lnTo>
                      <a:pt x="43" y="24"/>
                    </a:lnTo>
                    <a:lnTo>
                      <a:pt x="76" y="0"/>
                    </a:lnTo>
                    <a:lnTo>
                      <a:pt x="98" y="0"/>
                    </a:lnTo>
                    <a:lnTo>
                      <a:pt x="98" y="10"/>
                    </a:lnTo>
                    <a:lnTo>
                      <a:pt x="110" y="10"/>
                    </a:lnTo>
                    <a:lnTo>
                      <a:pt x="98" y="24"/>
                    </a:lnTo>
                    <a:lnTo>
                      <a:pt x="89" y="50"/>
                    </a:lnTo>
                    <a:lnTo>
                      <a:pt x="76" y="62"/>
                    </a:lnTo>
                    <a:lnTo>
                      <a:pt x="31" y="62"/>
                    </a:lnTo>
                    <a:lnTo>
                      <a:pt x="12" y="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5" name="Freeform 323">
                <a:extLst>
                  <a:ext uri="{FF2B5EF4-FFF2-40B4-BE49-F238E27FC236}">
                    <a16:creationId xmlns:a16="http://schemas.microsoft.com/office/drawing/2014/main" id="{CAC1C1D6-E950-4380-BB66-B6D059A1C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5209" y="1677397"/>
                <a:ext cx="254569" cy="83041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52" y="11"/>
                  </a:cxn>
                  <a:cxn ang="0">
                    <a:pos x="98" y="0"/>
                  </a:cxn>
                  <a:cxn ang="0">
                    <a:pos x="175" y="0"/>
                  </a:cxn>
                  <a:cxn ang="0">
                    <a:pos x="187" y="11"/>
                  </a:cxn>
                  <a:cxn ang="0">
                    <a:pos x="144" y="25"/>
                  </a:cxn>
                  <a:cxn ang="0">
                    <a:pos x="89" y="11"/>
                  </a:cxn>
                  <a:cxn ang="0">
                    <a:pos x="89" y="25"/>
                  </a:cxn>
                  <a:cxn ang="0">
                    <a:pos x="166" y="46"/>
                  </a:cxn>
                  <a:cxn ang="0">
                    <a:pos x="108" y="46"/>
                  </a:cxn>
                  <a:cxn ang="0">
                    <a:pos x="108" y="35"/>
                  </a:cxn>
                  <a:cxn ang="0">
                    <a:pos x="89" y="35"/>
                  </a:cxn>
                  <a:cxn ang="0">
                    <a:pos x="64" y="61"/>
                  </a:cxn>
                  <a:cxn ang="0">
                    <a:pos x="31" y="46"/>
                  </a:cxn>
                  <a:cxn ang="0">
                    <a:pos x="31" y="35"/>
                  </a:cxn>
                  <a:cxn ang="0">
                    <a:pos x="21" y="35"/>
                  </a:cxn>
                  <a:cxn ang="0">
                    <a:pos x="12" y="25"/>
                  </a:cxn>
                  <a:cxn ang="0">
                    <a:pos x="0" y="11"/>
                  </a:cxn>
                </a:cxnLst>
                <a:rect l="0" t="0" r="r" b="b"/>
                <a:pathLst>
                  <a:path w="187" h="61">
                    <a:moveTo>
                      <a:pt x="0" y="11"/>
                    </a:moveTo>
                    <a:lnTo>
                      <a:pt x="52" y="11"/>
                    </a:lnTo>
                    <a:lnTo>
                      <a:pt x="98" y="0"/>
                    </a:lnTo>
                    <a:lnTo>
                      <a:pt x="175" y="0"/>
                    </a:lnTo>
                    <a:lnTo>
                      <a:pt x="187" y="11"/>
                    </a:lnTo>
                    <a:lnTo>
                      <a:pt x="144" y="25"/>
                    </a:lnTo>
                    <a:lnTo>
                      <a:pt x="89" y="11"/>
                    </a:lnTo>
                    <a:lnTo>
                      <a:pt x="89" y="25"/>
                    </a:lnTo>
                    <a:lnTo>
                      <a:pt x="166" y="46"/>
                    </a:lnTo>
                    <a:lnTo>
                      <a:pt x="108" y="46"/>
                    </a:lnTo>
                    <a:lnTo>
                      <a:pt x="108" y="35"/>
                    </a:lnTo>
                    <a:lnTo>
                      <a:pt x="89" y="35"/>
                    </a:lnTo>
                    <a:lnTo>
                      <a:pt x="64" y="61"/>
                    </a:lnTo>
                    <a:lnTo>
                      <a:pt x="31" y="46"/>
                    </a:lnTo>
                    <a:lnTo>
                      <a:pt x="31" y="35"/>
                    </a:lnTo>
                    <a:lnTo>
                      <a:pt x="21" y="35"/>
                    </a:lnTo>
                    <a:lnTo>
                      <a:pt x="12" y="25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6" name="Freeform 324">
                <a:extLst>
                  <a:ext uri="{FF2B5EF4-FFF2-40B4-BE49-F238E27FC236}">
                    <a16:creationId xmlns:a16="http://schemas.microsoft.com/office/drawing/2014/main" id="{1C57BF24-8C9A-4C9B-98CC-5756CECEA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7179" y="2273659"/>
                <a:ext cx="161999" cy="261375"/>
              </a:xfrm>
              <a:custGeom>
                <a:avLst/>
                <a:gdLst/>
                <a:ahLst/>
                <a:cxnLst>
                  <a:cxn ang="0">
                    <a:pos x="0" y="192"/>
                  </a:cxn>
                  <a:cxn ang="0">
                    <a:pos x="21" y="167"/>
                  </a:cxn>
                  <a:cxn ang="0">
                    <a:pos x="43" y="167"/>
                  </a:cxn>
                  <a:cxn ang="0">
                    <a:pos x="30" y="167"/>
                  </a:cxn>
                  <a:cxn ang="0">
                    <a:pos x="9" y="167"/>
                  </a:cxn>
                  <a:cxn ang="0">
                    <a:pos x="9" y="155"/>
                  </a:cxn>
                  <a:cxn ang="0">
                    <a:pos x="21" y="137"/>
                  </a:cxn>
                  <a:cxn ang="0">
                    <a:pos x="21" y="126"/>
                  </a:cxn>
                  <a:cxn ang="0">
                    <a:pos x="43" y="126"/>
                  </a:cxn>
                  <a:cxn ang="0">
                    <a:pos x="52" y="101"/>
                  </a:cxn>
                  <a:cxn ang="0">
                    <a:pos x="30" y="90"/>
                  </a:cxn>
                  <a:cxn ang="0">
                    <a:pos x="43" y="90"/>
                  </a:cxn>
                  <a:cxn ang="0">
                    <a:pos x="21" y="90"/>
                  </a:cxn>
                  <a:cxn ang="0">
                    <a:pos x="9" y="90"/>
                  </a:cxn>
                  <a:cxn ang="0">
                    <a:pos x="21" y="76"/>
                  </a:cxn>
                  <a:cxn ang="0">
                    <a:pos x="21" y="65"/>
                  </a:cxn>
                  <a:cxn ang="0">
                    <a:pos x="9" y="76"/>
                  </a:cxn>
                  <a:cxn ang="0">
                    <a:pos x="9" y="65"/>
                  </a:cxn>
                  <a:cxn ang="0">
                    <a:pos x="0" y="65"/>
                  </a:cxn>
                  <a:cxn ang="0">
                    <a:pos x="9" y="65"/>
                  </a:cxn>
                  <a:cxn ang="0">
                    <a:pos x="9" y="47"/>
                  </a:cxn>
                  <a:cxn ang="0">
                    <a:pos x="0" y="47"/>
                  </a:cxn>
                  <a:cxn ang="0">
                    <a:pos x="9" y="36"/>
                  </a:cxn>
                  <a:cxn ang="0">
                    <a:pos x="9" y="21"/>
                  </a:cxn>
                  <a:cxn ang="0">
                    <a:pos x="21" y="0"/>
                  </a:cxn>
                  <a:cxn ang="0">
                    <a:pos x="52" y="0"/>
                  </a:cxn>
                  <a:cxn ang="0">
                    <a:pos x="52" y="11"/>
                  </a:cxn>
                  <a:cxn ang="0">
                    <a:pos x="30" y="21"/>
                  </a:cxn>
                  <a:cxn ang="0">
                    <a:pos x="63" y="21"/>
                  </a:cxn>
                  <a:cxn ang="0">
                    <a:pos x="43" y="65"/>
                  </a:cxn>
                  <a:cxn ang="0">
                    <a:pos x="63" y="65"/>
                  </a:cxn>
                  <a:cxn ang="0">
                    <a:pos x="75" y="90"/>
                  </a:cxn>
                  <a:cxn ang="0">
                    <a:pos x="85" y="101"/>
                  </a:cxn>
                  <a:cxn ang="0">
                    <a:pos x="97" y="126"/>
                  </a:cxn>
                  <a:cxn ang="0">
                    <a:pos x="85" y="126"/>
                  </a:cxn>
                  <a:cxn ang="0">
                    <a:pos x="106" y="126"/>
                  </a:cxn>
                  <a:cxn ang="0">
                    <a:pos x="119" y="137"/>
                  </a:cxn>
                  <a:cxn ang="0">
                    <a:pos x="97" y="167"/>
                  </a:cxn>
                  <a:cxn ang="0">
                    <a:pos x="106" y="167"/>
                  </a:cxn>
                  <a:cxn ang="0">
                    <a:pos x="97" y="177"/>
                  </a:cxn>
                  <a:cxn ang="0">
                    <a:pos x="52" y="192"/>
                  </a:cxn>
                  <a:cxn ang="0">
                    <a:pos x="43" y="177"/>
                  </a:cxn>
                  <a:cxn ang="0">
                    <a:pos x="30" y="192"/>
                  </a:cxn>
                  <a:cxn ang="0">
                    <a:pos x="9" y="192"/>
                  </a:cxn>
                  <a:cxn ang="0">
                    <a:pos x="0" y="192"/>
                  </a:cxn>
                </a:cxnLst>
                <a:rect l="0" t="0" r="r" b="b"/>
                <a:pathLst>
                  <a:path w="119" h="192">
                    <a:moveTo>
                      <a:pt x="0" y="192"/>
                    </a:moveTo>
                    <a:lnTo>
                      <a:pt x="21" y="167"/>
                    </a:lnTo>
                    <a:lnTo>
                      <a:pt x="43" y="167"/>
                    </a:lnTo>
                    <a:lnTo>
                      <a:pt x="30" y="167"/>
                    </a:lnTo>
                    <a:lnTo>
                      <a:pt x="9" y="167"/>
                    </a:lnTo>
                    <a:lnTo>
                      <a:pt x="9" y="155"/>
                    </a:lnTo>
                    <a:lnTo>
                      <a:pt x="21" y="137"/>
                    </a:lnTo>
                    <a:lnTo>
                      <a:pt x="21" y="126"/>
                    </a:lnTo>
                    <a:lnTo>
                      <a:pt x="43" y="126"/>
                    </a:lnTo>
                    <a:lnTo>
                      <a:pt x="52" y="101"/>
                    </a:lnTo>
                    <a:lnTo>
                      <a:pt x="30" y="90"/>
                    </a:lnTo>
                    <a:lnTo>
                      <a:pt x="43" y="90"/>
                    </a:lnTo>
                    <a:lnTo>
                      <a:pt x="21" y="90"/>
                    </a:lnTo>
                    <a:lnTo>
                      <a:pt x="9" y="90"/>
                    </a:lnTo>
                    <a:lnTo>
                      <a:pt x="21" y="76"/>
                    </a:lnTo>
                    <a:lnTo>
                      <a:pt x="21" y="65"/>
                    </a:lnTo>
                    <a:lnTo>
                      <a:pt x="9" y="76"/>
                    </a:lnTo>
                    <a:lnTo>
                      <a:pt x="9" y="65"/>
                    </a:lnTo>
                    <a:lnTo>
                      <a:pt x="0" y="65"/>
                    </a:lnTo>
                    <a:lnTo>
                      <a:pt x="9" y="65"/>
                    </a:lnTo>
                    <a:lnTo>
                      <a:pt x="9" y="47"/>
                    </a:lnTo>
                    <a:lnTo>
                      <a:pt x="0" y="47"/>
                    </a:lnTo>
                    <a:lnTo>
                      <a:pt x="9" y="36"/>
                    </a:lnTo>
                    <a:lnTo>
                      <a:pt x="9" y="21"/>
                    </a:lnTo>
                    <a:lnTo>
                      <a:pt x="21" y="0"/>
                    </a:lnTo>
                    <a:lnTo>
                      <a:pt x="52" y="0"/>
                    </a:lnTo>
                    <a:lnTo>
                      <a:pt x="52" y="11"/>
                    </a:lnTo>
                    <a:lnTo>
                      <a:pt x="30" y="21"/>
                    </a:lnTo>
                    <a:lnTo>
                      <a:pt x="63" y="21"/>
                    </a:lnTo>
                    <a:lnTo>
                      <a:pt x="43" y="65"/>
                    </a:lnTo>
                    <a:lnTo>
                      <a:pt x="63" y="65"/>
                    </a:lnTo>
                    <a:lnTo>
                      <a:pt x="75" y="90"/>
                    </a:lnTo>
                    <a:lnTo>
                      <a:pt x="85" y="101"/>
                    </a:lnTo>
                    <a:lnTo>
                      <a:pt x="97" y="126"/>
                    </a:lnTo>
                    <a:lnTo>
                      <a:pt x="85" y="126"/>
                    </a:lnTo>
                    <a:lnTo>
                      <a:pt x="106" y="126"/>
                    </a:lnTo>
                    <a:lnTo>
                      <a:pt x="119" y="137"/>
                    </a:lnTo>
                    <a:lnTo>
                      <a:pt x="97" y="167"/>
                    </a:lnTo>
                    <a:lnTo>
                      <a:pt x="106" y="167"/>
                    </a:lnTo>
                    <a:lnTo>
                      <a:pt x="97" y="177"/>
                    </a:lnTo>
                    <a:lnTo>
                      <a:pt x="52" y="192"/>
                    </a:lnTo>
                    <a:lnTo>
                      <a:pt x="43" y="177"/>
                    </a:lnTo>
                    <a:lnTo>
                      <a:pt x="30" y="192"/>
                    </a:lnTo>
                    <a:lnTo>
                      <a:pt x="9" y="192"/>
                    </a:lnTo>
                    <a:lnTo>
                      <a:pt x="0" y="19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7" name="Freeform 325">
                <a:extLst>
                  <a:ext uri="{FF2B5EF4-FFF2-40B4-BE49-F238E27FC236}">
                    <a16:creationId xmlns:a16="http://schemas.microsoft.com/office/drawing/2014/main" id="{9678C589-D051-406F-ACDE-A21DD35C9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2587" y="2777351"/>
                <a:ext cx="35395" cy="5717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6" y="0"/>
                  </a:cxn>
                  <a:cxn ang="0">
                    <a:pos x="26" y="42"/>
                  </a:cxn>
                  <a:cxn ang="0">
                    <a:pos x="0" y="28"/>
                  </a:cxn>
                  <a:cxn ang="0">
                    <a:pos x="0" y="0"/>
                  </a:cxn>
                </a:cxnLst>
                <a:rect l="0" t="0" r="r" b="b"/>
                <a:pathLst>
                  <a:path w="26" h="42">
                    <a:moveTo>
                      <a:pt x="0" y="0"/>
                    </a:moveTo>
                    <a:lnTo>
                      <a:pt x="26" y="0"/>
                    </a:lnTo>
                    <a:lnTo>
                      <a:pt x="26" y="42"/>
                    </a:lnTo>
                    <a:lnTo>
                      <a:pt x="0" y="2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8" name="Freeform 326">
                <a:extLst>
                  <a:ext uri="{FF2B5EF4-FFF2-40B4-BE49-F238E27FC236}">
                    <a16:creationId xmlns:a16="http://schemas.microsoft.com/office/drawing/2014/main" id="{24FA117C-9927-48A5-9AEF-25A3658D76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334" y="2835887"/>
                <a:ext cx="40840" cy="6398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" y="0"/>
                  </a:cxn>
                  <a:cxn ang="0">
                    <a:pos x="30" y="11"/>
                  </a:cxn>
                  <a:cxn ang="0">
                    <a:pos x="30" y="47"/>
                  </a:cxn>
                  <a:cxn ang="0">
                    <a:pos x="9" y="47"/>
                  </a:cxn>
                  <a:cxn ang="0">
                    <a:pos x="0" y="0"/>
                  </a:cxn>
                </a:cxnLst>
                <a:rect l="0" t="0" r="r" b="b"/>
                <a:pathLst>
                  <a:path w="30" h="47">
                    <a:moveTo>
                      <a:pt x="0" y="0"/>
                    </a:moveTo>
                    <a:lnTo>
                      <a:pt x="21" y="0"/>
                    </a:lnTo>
                    <a:lnTo>
                      <a:pt x="30" y="11"/>
                    </a:lnTo>
                    <a:lnTo>
                      <a:pt x="30" y="47"/>
                    </a:lnTo>
                    <a:lnTo>
                      <a:pt x="9" y="4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9" name="Freeform 327">
                <a:extLst>
                  <a:ext uri="{FF2B5EF4-FFF2-40B4-BE49-F238E27FC236}">
                    <a16:creationId xmlns:a16="http://schemas.microsoft.com/office/drawing/2014/main" id="{0616EA10-9C9C-4717-8F19-3F1EAC7AE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4802" y="2921651"/>
                <a:ext cx="44924" cy="68066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11" y="0"/>
                  </a:cxn>
                  <a:cxn ang="0">
                    <a:pos x="20" y="14"/>
                  </a:cxn>
                  <a:cxn ang="0">
                    <a:pos x="33" y="28"/>
                  </a:cxn>
                  <a:cxn ang="0">
                    <a:pos x="20" y="28"/>
                  </a:cxn>
                  <a:cxn ang="0">
                    <a:pos x="33" y="50"/>
                  </a:cxn>
                  <a:cxn ang="0">
                    <a:pos x="20" y="39"/>
                  </a:cxn>
                  <a:cxn ang="0">
                    <a:pos x="20" y="50"/>
                  </a:cxn>
                  <a:cxn ang="0">
                    <a:pos x="11" y="39"/>
                  </a:cxn>
                  <a:cxn ang="0">
                    <a:pos x="0" y="28"/>
                  </a:cxn>
                  <a:cxn ang="0">
                    <a:pos x="0" y="14"/>
                  </a:cxn>
                </a:cxnLst>
                <a:rect l="0" t="0" r="r" b="b"/>
                <a:pathLst>
                  <a:path w="33" h="50">
                    <a:moveTo>
                      <a:pt x="0" y="14"/>
                    </a:moveTo>
                    <a:lnTo>
                      <a:pt x="11" y="0"/>
                    </a:lnTo>
                    <a:lnTo>
                      <a:pt x="20" y="14"/>
                    </a:lnTo>
                    <a:lnTo>
                      <a:pt x="33" y="28"/>
                    </a:lnTo>
                    <a:lnTo>
                      <a:pt x="20" y="28"/>
                    </a:lnTo>
                    <a:lnTo>
                      <a:pt x="33" y="50"/>
                    </a:lnTo>
                    <a:lnTo>
                      <a:pt x="20" y="39"/>
                    </a:lnTo>
                    <a:lnTo>
                      <a:pt x="20" y="50"/>
                    </a:lnTo>
                    <a:lnTo>
                      <a:pt x="11" y="39"/>
                    </a:lnTo>
                    <a:lnTo>
                      <a:pt x="0" y="28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0" name="Freeform 328">
                <a:extLst>
                  <a:ext uri="{FF2B5EF4-FFF2-40B4-BE49-F238E27FC236}">
                    <a16:creationId xmlns:a16="http://schemas.microsoft.com/office/drawing/2014/main" id="{70C740D4-6F96-4AD9-BDF7-F5AFFAAF1F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6062" y="3008776"/>
                <a:ext cx="58538" cy="39479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0" y="0"/>
                  </a:cxn>
                  <a:cxn ang="0">
                    <a:pos x="30" y="11"/>
                  </a:cxn>
                  <a:cxn ang="0">
                    <a:pos x="43" y="11"/>
                  </a:cxn>
                  <a:cxn ang="0">
                    <a:pos x="43" y="29"/>
                  </a:cxn>
                  <a:cxn ang="0">
                    <a:pos x="22" y="29"/>
                  </a:cxn>
                  <a:cxn ang="0">
                    <a:pos x="0" y="11"/>
                  </a:cxn>
                </a:cxnLst>
                <a:rect l="0" t="0" r="r" b="b"/>
                <a:pathLst>
                  <a:path w="43" h="29">
                    <a:moveTo>
                      <a:pt x="0" y="11"/>
                    </a:moveTo>
                    <a:lnTo>
                      <a:pt x="0" y="0"/>
                    </a:lnTo>
                    <a:lnTo>
                      <a:pt x="30" y="11"/>
                    </a:lnTo>
                    <a:lnTo>
                      <a:pt x="43" y="11"/>
                    </a:lnTo>
                    <a:lnTo>
                      <a:pt x="43" y="29"/>
                    </a:lnTo>
                    <a:lnTo>
                      <a:pt x="22" y="29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1" name="Freeform 329">
                <a:extLst>
                  <a:ext uri="{FF2B5EF4-FFF2-40B4-BE49-F238E27FC236}">
                    <a16:creationId xmlns:a16="http://schemas.microsoft.com/office/drawing/2014/main" id="{548F4968-737C-4E5E-98F6-1C0862F85D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718" y="2379843"/>
                <a:ext cx="102100" cy="121159"/>
              </a:xfrm>
              <a:custGeom>
                <a:avLst/>
                <a:gdLst/>
                <a:ahLst/>
                <a:cxnLst>
                  <a:cxn ang="0">
                    <a:pos x="42" y="14"/>
                  </a:cxn>
                  <a:cxn ang="0">
                    <a:pos x="51" y="0"/>
                  </a:cxn>
                  <a:cxn ang="0">
                    <a:pos x="42" y="0"/>
                  </a:cxn>
                  <a:cxn ang="0">
                    <a:pos x="29" y="14"/>
                  </a:cxn>
                  <a:cxn ang="0">
                    <a:pos x="42" y="14"/>
                  </a:cxn>
                  <a:cxn ang="0">
                    <a:pos x="29" y="25"/>
                  </a:cxn>
                  <a:cxn ang="0">
                    <a:pos x="20" y="25"/>
                  </a:cxn>
                  <a:cxn ang="0">
                    <a:pos x="8" y="25"/>
                  </a:cxn>
                  <a:cxn ang="0">
                    <a:pos x="20" y="35"/>
                  </a:cxn>
                  <a:cxn ang="0">
                    <a:pos x="8" y="35"/>
                  </a:cxn>
                  <a:cxn ang="0">
                    <a:pos x="29" y="49"/>
                  </a:cxn>
                  <a:cxn ang="0">
                    <a:pos x="8" y="77"/>
                  </a:cxn>
                  <a:cxn ang="0">
                    <a:pos x="0" y="77"/>
                  </a:cxn>
                  <a:cxn ang="0">
                    <a:pos x="8" y="89"/>
                  </a:cxn>
                  <a:cxn ang="0">
                    <a:pos x="60" y="77"/>
                  </a:cxn>
                  <a:cxn ang="0">
                    <a:pos x="75" y="49"/>
                  </a:cxn>
                  <a:cxn ang="0">
                    <a:pos x="75" y="25"/>
                  </a:cxn>
                  <a:cxn ang="0">
                    <a:pos x="51" y="25"/>
                  </a:cxn>
                  <a:cxn ang="0">
                    <a:pos x="42" y="14"/>
                  </a:cxn>
                </a:cxnLst>
                <a:rect l="0" t="0" r="r" b="b"/>
                <a:pathLst>
                  <a:path w="75" h="89">
                    <a:moveTo>
                      <a:pt x="42" y="14"/>
                    </a:moveTo>
                    <a:lnTo>
                      <a:pt x="51" y="0"/>
                    </a:lnTo>
                    <a:lnTo>
                      <a:pt x="42" y="0"/>
                    </a:lnTo>
                    <a:lnTo>
                      <a:pt x="29" y="14"/>
                    </a:lnTo>
                    <a:lnTo>
                      <a:pt x="42" y="14"/>
                    </a:lnTo>
                    <a:lnTo>
                      <a:pt x="29" y="25"/>
                    </a:lnTo>
                    <a:lnTo>
                      <a:pt x="20" y="25"/>
                    </a:lnTo>
                    <a:lnTo>
                      <a:pt x="8" y="25"/>
                    </a:lnTo>
                    <a:lnTo>
                      <a:pt x="20" y="35"/>
                    </a:lnTo>
                    <a:lnTo>
                      <a:pt x="8" y="35"/>
                    </a:lnTo>
                    <a:lnTo>
                      <a:pt x="29" y="49"/>
                    </a:lnTo>
                    <a:lnTo>
                      <a:pt x="8" y="77"/>
                    </a:lnTo>
                    <a:lnTo>
                      <a:pt x="0" y="77"/>
                    </a:lnTo>
                    <a:lnTo>
                      <a:pt x="8" y="89"/>
                    </a:lnTo>
                    <a:lnTo>
                      <a:pt x="60" y="77"/>
                    </a:lnTo>
                    <a:lnTo>
                      <a:pt x="75" y="49"/>
                    </a:lnTo>
                    <a:lnTo>
                      <a:pt x="75" y="25"/>
                    </a:lnTo>
                    <a:lnTo>
                      <a:pt x="51" y="25"/>
                    </a:lnTo>
                    <a:lnTo>
                      <a:pt x="42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2" name="Freeform 330">
                <a:extLst>
                  <a:ext uri="{FF2B5EF4-FFF2-40B4-BE49-F238E27FC236}">
                    <a16:creationId xmlns:a16="http://schemas.microsoft.com/office/drawing/2014/main" id="{6D7B6945-86E6-471B-837D-ABAC224540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9126" y="2428850"/>
                <a:ext cx="91209" cy="87125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21" y="53"/>
                  </a:cxn>
                  <a:cxn ang="0">
                    <a:pos x="43" y="64"/>
                  </a:cxn>
                  <a:cxn ang="0">
                    <a:pos x="43" y="42"/>
                  </a:cxn>
                  <a:cxn ang="0">
                    <a:pos x="57" y="25"/>
                  </a:cxn>
                  <a:cxn ang="0">
                    <a:pos x="67" y="0"/>
                  </a:cxn>
                  <a:cxn ang="0">
                    <a:pos x="34" y="14"/>
                  </a:cxn>
                  <a:cxn ang="0">
                    <a:pos x="43" y="25"/>
                  </a:cxn>
                  <a:cxn ang="0">
                    <a:pos x="34" y="25"/>
                  </a:cxn>
                  <a:cxn ang="0">
                    <a:pos x="21" y="25"/>
                  </a:cxn>
                  <a:cxn ang="0">
                    <a:pos x="21" y="14"/>
                  </a:cxn>
                  <a:cxn ang="0">
                    <a:pos x="0" y="53"/>
                  </a:cxn>
                </a:cxnLst>
                <a:rect l="0" t="0" r="r" b="b"/>
                <a:pathLst>
                  <a:path w="67" h="64">
                    <a:moveTo>
                      <a:pt x="0" y="53"/>
                    </a:moveTo>
                    <a:lnTo>
                      <a:pt x="21" y="53"/>
                    </a:lnTo>
                    <a:lnTo>
                      <a:pt x="43" y="64"/>
                    </a:lnTo>
                    <a:lnTo>
                      <a:pt x="43" y="42"/>
                    </a:lnTo>
                    <a:lnTo>
                      <a:pt x="57" y="25"/>
                    </a:lnTo>
                    <a:lnTo>
                      <a:pt x="67" y="0"/>
                    </a:lnTo>
                    <a:lnTo>
                      <a:pt x="34" y="14"/>
                    </a:lnTo>
                    <a:lnTo>
                      <a:pt x="43" y="25"/>
                    </a:lnTo>
                    <a:lnTo>
                      <a:pt x="34" y="25"/>
                    </a:lnTo>
                    <a:lnTo>
                      <a:pt x="21" y="25"/>
                    </a:lnTo>
                    <a:lnTo>
                      <a:pt x="21" y="14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3" name="Freeform 331">
                <a:extLst>
                  <a:ext uri="{FF2B5EF4-FFF2-40B4-BE49-F238E27FC236}">
                    <a16:creationId xmlns:a16="http://schemas.microsoft.com/office/drawing/2014/main" id="{A865E4FF-8B88-4DB6-9A2D-64DEED716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2905" y="2502362"/>
                <a:ext cx="145663" cy="88487"/>
              </a:xfrm>
              <a:custGeom>
                <a:avLst/>
                <a:gdLst/>
                <a:ahLst/>
                <a:cxnLst>
                  <a:cxn ang="0">
                    <a:pos x="40" y="10"/>
                  </a:cxn>
                  <a:cxn ang="0">
                    <a:pos x="64" y="10"/>
                  </a:cxn>
                  <a:cxn ang="0">
                    <a:pos x="76" y="24"/>
                  </a:cxn>
                  <a:cxn ang="0">
                    <a:pos x="86" y="24"/>
                  </a:cxn>
                  <a:cxn ang="0">
                    <a:pos x="107" y="36"/>
                  </a:cxn>
                  <a:cxn ang="0">
                    <a:pos x="76" y="65"/>
                  </a:cxn>
                  <a:cxn ang="0">
                    <a:pos x="51" y="46"/>
                  </a:cxn>
                  <a:cxn ang="0">
                    <a:pos x="40" y="65"/>
                  </a:cxn>
                  <a:cxn ang="0">
                    <a:pos x="31" y="65"/>
                  </a:cxn>
                  <a:cxn ang="0">
                    <a:pos x="9" y="36"/>
                  </a:cxn>
                  <a:cxn ang="0">
                    <a:pos x="0" y="24"/>
                  </a:cxn>
                  <a:cxn ang="0">
                    <a:pos x="40" y="0"/>
                  </a:cxn>
                  <a:cxn ang="0">
                    <a:pos x="40" y="10"/>
                  </a:cxn>
                </a:cxnLst>
                <a:rect l="0" t="0" r="r" b="b"/>
                <a:pathLst>
                  <a:path w="107" h="65">
                    <a:moveTo>
                      <a:pt x="40" y="10"/>
                    </a:moveTo>
                    <a:lnTo>
                      <a:pt x="64" y="10"/>
                    </a:lnTo>
                    <a:lnTo>
                      <a:pt x="76" y="24"/>
                    </a:lnTo>
                    <a:lnTo>
                      <a:pt x="86" y="24"/>
                    </a:lnTo>
                    <a:lnTo>
                      <a:pt x="107" y="36"/>
                    </a:lnTo>
                    <a:lnTo>
                      <a:pt x="76" y="65"/>
                    </a:lnTo>
                    <a:lnTo>
                      <a:pt x="51" y="46"/>
                    </a:lnTo>
                    <a:lnTo>
                      <a:pt x="40" y="65"/>
                    </a:lnTo>
                    <a:lnTo>
                      <a:pt x="31" y="65"/>
                    </a:lnTo>
                    <a:lnTo>
                      <a:pt x="9" y="36"/>
                    </a:lnTo>
                    <a:lnTo>
                      <a:pt x="0" y="24"/>
                    </a:lnTo>
                    <a:lnTo>
                      <a:pt x="40" y="0"/>
                    </a:lnTo>
                    <a:lnTo>
                      <a:pt x="40" y="1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4" name="Freeform 66">
                <a:extLst>
                  <a:ext uri="{FF2B5EF4-FFF2-40B4-BE49-F238E27FC236}">
                    <a16:creationId xmlns:a16="http://schemas.microsoft.com/office/drawing/2014/main" id="{3E0A1573-1AEE-4410-AEBF-C37948137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0843" y="2379846"/>
                <a:ext cx="62621" cy="39479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15" y="0"/>
                  </a:cxn>
                  <a:cxn ang="0">
                    <a:pos x="46" y="0"/>
                  </a:cxn>
                  <a:cxn ang="0">
                    <a:pos x="46" y="29"/>
                  </a:cxn>
                  <a:cxn ang="0">
                    <a:pos x="0" y="16"/>
                  </a:cxn>
                </a:cxnLst>
                <a:rect l="0" t="0" r="r" b="b"/>
                <a:pathLst>
                  <a:path w="46" h="29">
                    <a:moveTo>
                      <a:pt x="0" y="16"/>
                    </a:moveTo>
                    <a:lnTo>
                      <a:pt x="15" y="0"/>
                    </a:lnTo>
                    <a:lnTo>
                      <a:pt x="46" y="0"/>
                    </a:lnTo>
                    <a:lnTo>
                      <a:pt x="46" y="29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5" name="Freeform 223">
                <a:extLst>
                  <a:ext uri="{FF2B5EF4-FFF2-40B4-BE49-F238E27FC236}">
                    <a16:creationId xmlns:a16="http://schemas.microsoft.com/office/drawing/2014/main" id="{6C9C6798-B5CC-424C-BC98-025F95B51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5110" y="2660287"/>
                <a:ext cx="115713" cy="117075"/>
              </a:xfrm>
              <a:custGeom>
                <a:avLst/>
                <a:gdLst/>
                <a:ahLst/>
                <a:cxnLst>
                  <a:cxn ang="0">
                    <a:pos x="76" y="11"/>
                  </a:cxn>
                  <a:cxn ang="0">
                    <a:pos x="85" y="21"/>
                  </a:cxn>
                  <a:cxn ang="0">
                    <a:pos x="85" y="39"/>
                  </a:cxn>
                  <a:cxn ang="0">
                    <a:pos x="76" y="39"/>
                  </a:cxn>
                  <a:cxn ang="0">
                    <a:pos x="45" y="21"/>
                  </a:cxn>
                  <a:cxn ang="0">
                    <a:pos x="33" y="39"/>
                  </a:cxn>
                  <a:cxn ang="0">
                    <a:pos x="45" y="50"/>
                  </a:cxn>
                  <a:cxn ang="0">
                    <a:pos x="76" y="86"/>
                  </a:cxn>
                  <a:cxn ang="0">
                    <a:pos x="20" y="64"/>
                  </a:cxn>
                  <a:cxn ang="0">
                    <a:pos x="20" y="39"/>
                  </a:cxn>
                  <a:cxn ang="0">
                    <a:pos x="9" y="21"/>
                  </a:cxn>
                  <a:cxn ang="0">
                    <a:pos x="0" y="39"/>
                  </a:cxn>
                  <a:cxn ang="0">
                    <a:pos x="0" y="21"/>
                  </a:cxn>
                  <a:cxn ang="0">
                    <a:pos x="9" y="11"/>
                  </a:cxn>
                  <a:cxn ang="0">
                    <a:pos x="20" y="21"/>
                  </a:cxn>
                  <a:cxn ang="0">
                    <a:pos x="20" y="11"/>
                  </a:cxn>
                  <a:cxn ang="0">
                    <a:pos x="45" y="0"/>
                  </a:cxn>
                  <a:cxn ang="0">
                    <a:pos x="64" y="11"/>
                  </a:cxn>
                  <a:cxn ang="0">
                    <a:pos x="76" y="11"/>
                  </a:cxn>
                </a:cxnLst>
                <a:rect l="0" t="0" r="r" b="b"/>
                <a:pathLst>
                  <a:path w="85" h="86">
                    <a:moveTo>
                      <a:pt x="76" y="11"/>
                    </a:moveTo>
                    <a:lnTo>
                      <a:pt x="85" y="21"/>
                    </a:lnTo>
                    <a:lnTo>
                      <a:pt x="85" y="39"/>
                    </a:lnTo>
                    <a:lnTo>
                      <a:pt x="76" y="39"/>
                    </a:lnTo>
                    <a:lnTo>
                      <a:pt x="45" y="21"/>
                    </a:lnTo>
                    <a:lnTo>
                      <a:pt x="33" y="39"/>
                    </a:lnTo>
                    <a:lnTo>
                      <a:pt x="45" y="50"/>
                    </a:lnTo>
                    <a:lnTo>
                      <a:pt x="76" y="86"/>
                    </a:lnTo>
                    <a:lnTo>
                      <a:pt x="20" y="64"/>
                    </a:lnTo>
                    <a:lnTo>
                      <a:pt x="20" y="39"/>
                    </a:lnTo>
                    <a:lnTo>
                      <a:pt x="9" y="21"/>
                    </a:lnTo>
                    <a:lnTo>
                      <a:pt x="0" y="39"/>
                    </a:lnTo>
                    <a:lnTo>
                      <a:pt x="0" y="21"/>
                    </a:lnTo>
                    <a:lnTo>
                      <a:pt x="9" y="11"/>
                    </a:lnTo>
                    <a:lnTo>
                      <a:pt x="20" y="21"/>
                    </a:lnTo>
                    <a:lnTo>
                      <a:pt x="20" y="11"/>
                    </a:lnTo>
                    <a:lnTo>
                      <a:pt x="45" y="0"/>
                    </a:lnTo>
                    <a:lnTo>
                      <a:pt x="64" y="11"/>
                    </a:lnTo>
                    <a:lnTo>
                      <a:pt x="76" y="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6" name="Freeform 227">
                <a:extLst>
                  <a:ext uri="{FF2B5EF4-FFF2-40B4-BE49-F238E27FC236}">
                    <a16:creationId xmlns:a16="http://schemas.microsoft.com/office/drawing/2014/main" id="{B7D2E9BE-208A-4772-BABD-D529B4349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8571" y="2748774"/>
                <a:ext cx="44924" cy="70790"/>
              </a:xfrm>
              <a:custGeom>
                <a:avLst/>
                <a:gdLst/>
                <a:ahLst/>
                <a:cxnLst>
                  <a:cxn ang="0">
                    <a:pos x="0" y="21"/>
                  </a:cxn>
                  <a:cxn ang="0">
                    <a:pos x="0" y="11"/>
                  </a:cxn>
                  <a:cxn ang="0">
                    <a:pos x="9" y="0"/>
                  </a:cxn>
                  <a:cxn ang="0">
                    <a:pos x="33" y="21"/>
                  </a:cxn>
                  <a:cxn ang="0">
                    <a:pos x="24" y="21"/>
                  </a:cxn>
                  <a:cxn ang="0">
                    <a:pos x="24" y="52"/>
                  </a:cxn>
                  <a:cxn ang="0">
                    <a:pos x="0" y="21"/>
                  </a:cxn>
                </a:cxnLst>
                <a:rect l="0" t="0" r="r" b="b"/>
                <a:pathLst>
                  <a:path w="33" h="52">
                    <a:moveTo>
                      <a:pt x="0" y="21"/>
                    </a:moveTo>
                    <a:lnTo>
                      <a:pt x="0" y="11"/>
                    </a:lnTo>
                    <a:lnTo>
                      <a:pt x="9" y="0"/>
                    </a:lnTo>
                    <a:lnTo>
                      <a:pt x="33" y="21"/>
                    </a:lnTo>
                    <a:lnTo>
                      <a:pt x="24" y="21"/>
                    </a:lnTo>
                    <a:lnTo>
                      <a:pt x="24" y="52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7" name="Freeform 229">
                <a:extLst>
                  <a:ext uri="{FF2B5EF4-FFF2-40B4-BE49-F238E27FC236}">
                    <a16:creationId xmlns:a16="http://schemas.microsoft.com/office/drawing/2014/main" id="{F4FD796A-122A-4D94-B08F-EFB9F3B88C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8571" y="2676623"/>
                <a:ext cx="103461" cy="142941"/>
              </a:xfrm>
              <a:custGeom>
                <a:avLst/>
                <a:gdLst/>
                <a:ahLst/>
                <a:cxnLst>
                  <a:cxn ang="0">
                    <a:pos x="33" y="105"/>
                  </a:cxn>
                  <a:cxn ang="0">
                    <a:pos x="55" y="89"/>
                  </a:cxn>
                  <a:cxn ang="0">
                    <a:pos x="66" y="89"/>
                  </a:cxn>
                  <a:cxn ang="0">
                    <a:pos x="66" y="75"/>
                  </a:cxn>
                  <a:cxn ang="0">
                    <a:pos x="66" y="53"/>
                  </a:cxn>
                  <a:cxn ang="0">
                    <a:pos x="76" y="39"/>
                  </a:cxn>
                  <a:cxn ang="0">
                    <a:pos x="66" y="28"/>
                  </a:cxn>
                  <a:cxn ang="0">
                    <a:pos x="55" y="28"/>
                  </a:cxn>
                  <a:cxn ang="0">
                    <a:pos x="24" y="0"/>
                  </a:cxn>
                  <a:cxn ang="0">
                    <a:pos x="0" y="0"/>
                  </a:cxn>
                  <a:cxn ang="0">
                    <a:pos x="9" y="10"/>
                  </a:cxn>
                  <a:cxn ang="0">
                    <a:pos x="9" y="28"/>
                  </a:cxn>
                  <a:cxn ang="0">
                    <a:pos x="9" y="39"/>
                  </a:cxn>
                  <a:cxn ang="0">
                    <a:pos x="24" y="53"/>
                  </a:cxn>
                  <a:cxn ang="0">
                    <a:pos x="9" y="53"/>
                  </a:cxn>
                  <a:cxn ang="0">
                    <a:pos x="33" y="75"/>
                  </a:cxn>
                  <a:cxn ang="0">
                    <a:pos x="24" y="75"/>
                  </a:cxn>
                  <a:cxn ang="0">
                    <a:pos x="33" y="75"/>
                  </a:cxn>
                  <a:cxn ang="0">
                    <a:pos x="33" y="105"/>
                  </a:cxn>
                </a:cxnLst>
                <a:rect l="0" t="0" r="r" b="b"/>
                <a:pathLst>
                  <a:path w="76" h="105">
                    <a:moveTo>
                      <a:pt x="33" y="105"/>
                    </a:moveTo>
                    <a:lnTo>
                      <a:pt x="55" y="89"/>
                    </a:lnTo>
                    <a:lnTo>
                      <a:pt x="66" y="89"/>
                    </a:lnTo>
                    <a:lnTo>
                      <a:pt x="66" y="75"/>
                    </a:lnTo>
                    <a:lnTo>
                      <a:pt x="66" y="53"/>
                    </a:lnTo>
                    <a:lnTo>
                      <a:pt x="76" y="39"/>
                    </a:lnTo>
                    <a:lnTo>
                      <a:pt x="66" y="28"/>
                    </a:lnTo>
                    <a:lnTo>
                      <a:pt x="55" y="28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9" y="10"/>
                    </a:lnTo>
                    <a:lnTo>
                      <a:pt x="9" y="28"/>
                    </a:lnTo>
                    <a:lnTo>
                      <a:pt x="9" y="39"/>
                    </a:lnTo>
                    <a:lnTo>
                      <a:pt x="24" y="53"/>
                    </a:lnTo>
                    <a:lnTo>
                      <a:pt x="9" y="53"/>
                    </a:lnTo>
                    <a:lnTo>
                      <a:pt x="33" y="75"/>
                    </a:lnTo>
                    <a:lnTo>
                      <a:pt x="24" y="75"/>
                    </a:lnTo>
                    <a:lnTo>
                      <a:pt x="33" y="75"/>
                    </a:lnTo>
                    <a:lnTo>
                      <a:pt x="33" y="1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8" name="Freeform 336">
                <a:extLst>
                  <a:ext uri="{FF2B5EF4-FFF2-40B4-BE49-F238E27FC236}">
                    <a16:creationId xmlns:a16="http://schemas.microsoft.com/office/drawing/2014/main" id="{DB1F37E0-B9BB-441B-9E0C-E60D1304D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5158" y="2921651"/>
                <a:ext cx="74874" cy="54453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9" y="14"/>
                  </a:cxn>
                  <a:cxn ang="0">
                    <a:pos x="31" y="14"/>
                  </a:cxn>
                  <a:cxn ang="0">
                    <a:pos x="55" y="0"/>
                  </a:cxn>
                  <a:cxn ang="0">
                    <a:pos x="42" y="40"/>
                  </a:cxn>
                  <a:cxn ang="0">
                    <a:pos x="0" y="28"/>
                  </a:cxn>
                  <a:cxn ang="0">
                    <a:pos x="0" y="14"/>
                  </a:cxn>
                </a:cxnLst>
                <a:rect l="0" t="0" r="r" b="b"/>
                <a:pathLst>
                  <a:path w="55" h="40">
                    <a:moveTo>
                      <a:pt x="0" y="14"/>
                    </a:moveTo>
                    <a:lnTo>
                      <a:pt x="9" y="14"/>
                    </a:lnTo>
                    <a:lnTo>
                      <a:pt x="31" y="14"/>
                    </a:lnTo>
                    <a:lnTo>
                      <a:pt x="55" y="0"/>
                    </a:lnTo>
                    <a:lnTo>
                      <a:pt x="42" y="40"/>
                    </a:lnTo>
                    <a:lnTo>
                      <a:pt x="0" y="28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9" name="Freeform 221">
                <a:extLst>
                  <a:ext uri="{FF2B5EF4-FFF2-40B4-BE49-F238E27FC236}">
                    <a16:creationId xmlns:a16="http://schemas.microsoft.com/office/drawing/2014/main" id="{754E29D2-1D1C-42EE-834F-19291CB59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5110" y="2639867"/>
                <a:ext cx="61260" cy="49008"/>
              </a:xfrm>
              <a:custGeom>
                <a:avLst/>
                <a:gdLst/>
                <a:ahLst/>
                <a:cxnLst>
                  <a:cxn ang="0">
                    <a:pos x="0" y="36"/>
                  </a:cxn>
                  <a:cxn ang="0">
                    <a:pos x="9" y="24"/>
                  </a:cxn>
                  <a:cxn ang="0">
                    <a:pos x="20" y="36"/>
                  </a:cxn>
                  <a:cxn ang="0">
                    <a:pos x="20" y="24"/>
                  </a:cxn>
                  <a:cxn ang="0">
                    <a:pos x="45" y="14"/>
                  </a:cxn>
                  <a:cxn ang="0">
                    <a:pos x="32" y="0"/>
                  </a:cxn>
                  <a:cxn ang="0">
                    <a:pos x="0" y="14"/>
                  </a:cxn>
                  <a:cxn ang="0">
                    <a:pos x="0" y="24"/>
                  </a:cxn>
                  <a:cxn ang="0">
                    <a:pos x="0" y="36"/>
                  </a:cxn>
                </a:cxnLst>
                <a:rect l="0" t="0" r="r" b="b"/>
                <a:pathLst>
                  <a:path w="45" h="36">
                    <a:moveTo>
                      <a:pt x="0" y="36"/>
                    </a:moveTo>
                    <a:lnTo>
                      <a:pt x="9" y="24"/>
                    </a:lnTo>
                    <a:lnTo>
                      <a:pt x="20" y="36"/>
                    </a:lnTo>
                    <a:lnTo>
                      <a:pt x="20" y="24"/>
                    </a:lnTo>
                    <a:lnTo>
                      <a:pt x="45" y="14"/>
                    </a:lnTo>
                    <a:lnTo>
                      <a:pt x="32" y="0"/>
                    </a:lnTo>
                    <a:lnTo>
                      <a:pt x="0" y="14"/>
                    </a:lnTo>
                    <a:lnTo>
                      <a:pt x="0" y="24"/>
                    </a:lnTo>
                    <a:lnTo>
                      <a:pt x="0" y="3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0" name="Freeform 18">
                <a:extLst>
                  <a:ext uri="{FF2B5EF4-FFF2-40B4-BE49-F238E27FC236}">
                    <a16:creationId xmlns:a16="http://schemas.microsoft.com/office/drawing/2014/main" id="{EB87DAB3-5F38-4A2D-B513-287C8E0545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4749" y="1740021"/>
                <a:ext cx="3057563" cy="1093149"/>
              </a:xfrm>
              <a:custGeom>
                <a:avLst/>
                <a:gdLst/>
                <a:ahLst/>
                <a:cxnLst>
                  <a:cxn ang="0">
                    <a:pos x="682" y="105"/>
                  </a:cxn>
                  <a:cxn ang="0">
                    <a:pos x="723" y="43"/>
                  </a:cxn>
                  <a:cxn ang="0">
                    <a:pos x="922" y="14"/>
                  </a:cxn>
                  <a:cxn ang="0">
                    <a:pos x="1014" y="64"/>
                  </a:cxn>
                  <a:cxn ang="0">
                    <a:pos x="1130" y="79"/>
                  </a:cxn>
                  <a:cxn ang="0">
                    <a:pos x="1286" y="105"/>
                  </a:cxn>
                  <a:cxn ang="0">
                    <a:pos x="1440" y="119"/>
                  </a:cxn>
                  <a:cxn ang="0">
                    <a:pos x="1724" y="144"/>
                  </a:cxn>
                  <a:cxn ang="0">
                    <a:pos x="1859" y="155"/>
                  </a:cxn>
                  <a:cxn ang="0">
                    <a:pos x="2154" y="210"/>
                  </a:cxn>
                  <a:cxn ang="0">
                    <a:pos x="2178" y="246"/>
                  </a:cxn>
                  <a:cxn ang="0">
                    <a:pos x="2123" y="260"/>
                  </a:cxn>
                  <a:cxn ang="0">
                    <a:pos x="2101" y="347"/>
                  </a:cxn>
                  <a:cxn ang="0">
                    <a:pos x="2022" y="361"/>
                  </a:cxn>
                  <a:cxn ang="0">
                    <a:pos x="2056" y="426"/>
                  </a:cxn>
                  <a:cxn ang="0">
                    <a:pos x="2077" y="517"/>
                  </a:cxn>
                  <a:cxn ang="0">
                    <a:pos x="1955" y="412"/>
                  </a:cxn>
                  <a:cxn ang="0">
                    <a:pos x="1946" y="299"/>
                  </a:cxn>
                  <a:cxn ang="0">
                    <a:pos x="1869" y="361"/>
                  </a:cxn>
                  <a:cxn ang="0">
                    <a:pos x="1801" y="376"/>
                  </a:cxn>
                  <a:cxn ang="0">
                    <a:pos x="1715" y="503"/>
                  </a:cxn>
                  <a:cxn ang="0">
                    <a:pos x="1792" y="517"/>
                  </a:cxn>
                  <a:cxn ang="0">
                    <a:pos x="1801" y="759"/>
                  </a:cxn>
                  <a:cxn ang="0">
                    <a:pos x="1783" y="713"/>
                  </a:cxn>
                  <a:cxn ang="0">
                    <a:pos x="1694" y="622"/>
                  </a:cxn>
                  <a:cxn ang="0">
                    <a:pos x="1486" y="517"/>
                  </a:cxn>
                  <a:cxn ang="0">
                    <a:pos x="1452" y="593"/>
                  </a:cxn>
                  <a:cxn ang="0">
                    <a:pos x="1197" y="557"/>
                  </a:cxn>
                  <a:cxn ang="0">
                    <a:pos x="1090" y="582"/>
                  </a:cxn>
                  <a:cxn ang="0">
                    <a:pos x="968" y="604"/>
                  </a:cxn>
                  <a:cxn ang="0">
                    <a:pos x="814" y="517"/>
                  </a:cxn>
                  <a:cxn ang="0">
                    <a:pos x="714" y="491"/>
                  </a:cxn>
                  <a:cxn ang="0">
                    <a:pos x="615" y="481"/>
                  </a:cxn>
                  <a:cxn ang="0">
                    <a:pos x="538" y="527"/>
                  </a:cxn>
                  <a:cxn ang="0">
                    <a:pos x="514" y="567"/>
                  </a:cxn>
                  <a:cxn ang="0">
                    <a:pos x="419" y="546"/>
                  </a:cxn>
                  <a:cxn ang="0">
                    <a:pos x="361" y="593"/>
                  </a:cxn>
                  <a:cxn ang="0">
                    <a:pos x="382" y="673"/>
                  </a:cxn>
                  <a:cxn ang="0">
                    <a:pos x="398" y="788"/>
                  </a:cxn>
                  <a:cxn ang="0">
                    <a:pos x="296" y="749"/>
                  </a:cxn>
                  <a:cxn ang="0">
                    <a:pos x="208" y="673"/>
                  </a:cxn>
                  <a:cxn ang="0">
                    <a:pos x="229" y="647"/>
                  </a:cxn>
                  <a:cxn ang="0">
                    <a:pos x="152" y="582"/>
                  </a:cxn>
                  <a:cxn ang="0">
                    <a:pos x="76" y="517"/>
                  </a:cxn>
                  <a:cxn ang="0">
                    <a:pos x="33" y="438"/>
                  </a:cxn>
                  <a:cxn ang="0">
                    <a:pos x="33" y="361"/>
                  </a:cxn>
                  <a:cxn ang="0">
                    <a:pos x="33" y="246"/>
                  </a:cxn>
                  <a:cxn ang="0">
                    <a:pos x="12" y="170"/>
                  </a:cxn>
                  <a:cxn ang="0">
                    <a:pos x="144" y="220"/>
                  </a:cxn>
                  <a:cxn ang="0">
                    <a:pos x="144" y="260"/>
                  </a:cxn>
                  <a:cxn ang="0">
                    <a:pos x="220" y="220"/>
                  </a:cxn>
                  <a:cxn ang="0">
                    <a:pos x="254" y="191"/>
                  </a:cxn>
                  <a:cxn ang="0">
                    <a:pos x="361" y="181"/>
                  </a:cxn>
                  <a:cxn ang="0">
                    <a:pos x="437" y="170"/>
                  </a:cxn>
                  <a:cxn ang="0">
                    <a:pos x="505" y="133"/>
                  </a:cxn>
                  <a:cxn ang="0">
                    <a:pos x="560" y="119"/>
                  </a:cxn>
                  <a:cxn ang="0">
                    <a:pos x="606" y="220"/>
                  </a:cxn>
                  <a:cxn ang="0">
                    <a:pos x="594" y="133"/>
                  </a:cxn>
                </a:cxnLst>
                <a:rect l="0" t="0" r="r" b="b"/>
                <a:pathLst>
                  <a:path w="2246" h="803">
                    <a:moveTo>
                      <a:pt x="594" y="90"/>
                    </a:moveTo>
                    <a:lnTo>
                      <a:pt x="606" y="119"/>
                    </a:lnTo>
                    <a:lnTo>
                      <a:pt x="646" y="133"/>
                    </a:lnTo>
                    <a:lnTo>
                      <a:pt x="606" y="105"/>
                    </a:lnTo>
                    <a:lnTo>
                      <a:pt x="615" y="90"/>
                    </a:lnTo>
                    <a:lnTo>
                      <a:pt x="682" y="105"/>
                    </a:lnTo>
                    <a:lnTo>
                      <a:pt x="692" y="105"/>
                    </a:lnTo>
                    <a:lnTo>
                      <a:pt x="662" y="90"/>
                    </a:lnTo>
                    <a:lnTo>
                      <a:pt x="646" y="79"/>
                    </a:lnTo>
                    <a:lnTo>
                      <a:pt x="723" y="64"/>
                    </a:lnTo>
                    <a:lnTo>
                      <a:pt x="704" y="54"/>
                    </a:lnTo>
                    <a:lnTo>
                      <a:pt x="723" y="43"/>
                    </a:lnTo>
                    <a:lnTo>
                      <a:pt x="769" y="28"/>
                    </a:lnTo>
                    <a:lnTo>
                      <a:pt x="845" y="28"/>
                    </a:lnTo>
                    <a:lnTo>
                      <a:pt x="845" y="14"/>
                    </a:lnTo>
                    <a:lnTo>
                      <a:pt x="869" y="0"/>
                    </a:lnTo>
                    <a:lnTo>
                      <a:pt x="900" y="0"/>
                    </a:lnTo>
                    <a:lnTo>
                      <a:pt x="922" y="14"/>
                    </a:lnTo>
                    <a:lnTo>
                      <a:pt x="977" y="14"/>
                    </a:lnTo>
                    <a:lnTo>
                      <a:pt x="1023" y="28"/>
                    </a:lnTo>
                    <a:lnTo>
                      <a:pt x="1032" y="43"/>
                    </a:lnTo>
                    <a:lnTo>
                      <a:pt x="977" y="79"/>
                    </a:lnTo>
                    <a:lnTo>
                      <a:pt x="1023" y="79"/>
                    </a:lnTo>
                    <a:lnTo>
                      <a:pt x="1014" y="64"/>
                    </a:lnTo>
                    <a:lnTo>
                      <a:pt x="1054" y="64"/>
                    </a:lnTo>
                    <a:lnTo>
                      <a:pt x="1023" y="54"/>
                    </a:lnTo>
                    <a:lnTo>
                      <a:pt x="1045" y="54"/>
                    </a:lnTo>
                    <a:lnTo>
                      <a:pt x="1065" y="79"/>
                    </a:lnTo>
                    <a:lnTo>
                      <a:pt x="1121" y="79"/>
                    </a:lnTo>
                    <a:lnTo>
                      <a:pt x="1130" y="79"/>
                    </a:lnTo>
                    <a:lnTo>
                      <a:pt x="1155" y="79"/>
                    </a:lnTo>
                    <a:lnTo>
                      <a:pt x="1197" y="79"/>
                    </a:lnTo>
                    <a:lnTo>
                      <a:pt x="1176" y="64"/>
                    </a:lnTo>
                    <a:lnTo>
                      <a:pt x="1253" y="79"/>
                    </a:lnTo>
                    <a:lnTo>
                      <a:pt x="1286" y="90"/>
                    </a:lnTo>
                    <a:lnTo>
                      <a:pt x="1286" y="105"/>
                    </a:lnTo>
                    <a:lnTo>
                      <a:pt x="1341" y="133"/>
                    </a:lnTo>
                    <a:lnTo>
                      <a:pt x="1341" y="119"/>
                    </a:lnTo>
                    <a:lnTo>
                      <a:pt x="1329" y="105"/>
                    </a:lnTo>
                    <a:lnTo>
                      <a:pt x="1376" y="119"/>
                    </a:lnTo>
                    <a:lnTo>
                      <a:pt x="1384" y="105"/>
                    </a:lnTo>
                    <a:lnTo>
                      <a:pt x="1440" y="119"/>
                    </a:lnTo>
                    <a:lnTo>
                      <a:pt x="1421" y="105"/>
                    </a:lnTo>
                    <a:lnTo>
                      <a:pt x="1421" y="90"/>
                    </a:lnTo>
                    <a:lnTo>
                      <a:pt x="1553" y="105"/>
                    </a:lnTo>
                    <a:lnTo>
                      <a:pt x="1614" y="133"/>
                    </a:lnTo>
                    <a:lnTo>
                      <a:pt x="1694" y="133"/>
                    </a:lnTo>
                    <a:lnTo>
                      <a:pt x="1724" y="144"/>
                    </a:lnTo>
                    <a:lnTo>
                      <a:pt x="1762" y="155"/>
                    </a:lnTo>
                    <a:lnTo>
                      <a:pt x="1847" y="155"/>
                    </a:lnTo>
                    <a:lnTo>
                      <a:pt x="1847" y="144"/>
                    </a:lnTo>
                    <a:lnTo>
                      <a:pt x="1869" y="144"/>
                    </a:lnTo>
                    <a:lnTo>
                      <a:pt x="1869" y="155"/>
                    </a:lnTo>
                    <a:lnTo>
                      <a:pt x="1859" y="155"/>
                    </a:lnTo>
                    <a:lnTo>
                      <a:pt x="1891" y="170"/>
                    </a:lnTo>
                    <a:lnTo>
                      <a:pt x="1902" y="170"/>
                    </a:lnTo>
                    <a:lnTo>
                      <a:pt x="1869" y="144"/>
                    </a:lnTo>
                    <a:lnTo>
                      <a:pt x="1955" y="144"/>
                    </a:lnTo>
                    <a:lnTo>
                      <a:pt x="2022" y="170"/>
                    </a:lnTo>
                    <a:lnTo>
                      <a:pt x="2154" y="210"/>
                    </a:lnTo>
                    <a:lnTo>
                      <a:pt x="2187" y="210"/>
                    </a:lnTo>
                    <a:lnTo>
                      <a:pt x="2246" y="220"/>
                    </a:lnTo>
                    <a:lnTo>
                      <a:pt x="2246" y="235"/>
                    </a:lnTo>
                    <a:lnTo>
                      <a:pt x="2222" y="235"/>
                    </a:lnTo>
                    <a:lnTo>
                      <a:pt x="2246" y="260"/>
                    </a:lnTo>
                    <a:lnTo>
                      <a:pt x="2178" y="246"/>
                    </a:lnTo>
                    <a:lnTo>
                      <a:pt x="2132" y="235"/>
                    </a:lnTo>
                    <a:lnTo>
                      <a:pt x="2111" y="220"/>
                    </a:lnTo>
                    <a:lnTo>
                      <a:pt x="2101" y="235"/>
                    </a:lnTo>
                    <a:lnTo>
                      <a:pt x="2123" y="235"/>
                    </a:lnTo>
                    <a:lnTo>
                      <a:pt x="2123" y="246"/>
                    </a:lnTo>
                    <a:lnTo>
                      <a:pt x="2123" y="260"/>
                    </a:lnTo>
                    <a:lnTo>
                      <a:pt x="2101" y="260"/>
                    </a:lnTo>
                    <a:lnTo>
                      <a:pt x="2178" y="299"/>
                    </a:lnTo>
                    <a:lnTo>
                      <a:pt x="2178" y="311"/>
                    </a:lnTo>
                    <a:lnTo>
                      <a:pt x="2145" y="299"/>
                    </a:lnTo>
                    <a:lnTo>
                      <a:pt x="2132" y="311"/>
                    </a:lnTo>
                    <a:lnTo>
                      <a:pt x="2101" y="347"/>
                    </a:lnTo>
                    <a:lnTo>
                      <a:pt x="2111" y="361"/>
                    </a:lnTo>
                    <a:lnTo>
                      <a:pt x="2068" y="347"/>
                    </a:lnTo>
                    <a:lnTo>
                      <a:pt x="2056" y="347"/>
                    </a:lnTo>
                    <a:lnTo>
                      <a:pt x="2056" y="361"/>
                    </a:lnTo>
                    <a:lnTo>
                      <a:pt x="2034" y="347"/>
                    </a:lnTo>
                    <a:lnTo>
                      <a:pt x="2022" y="361"/>
                    </a:lnTo>
                    <a:lnTo>
                      <a:pt x="2013" y="361"/>
                    </a:lnTo>
                    <a:lnTo>
                      <a:pt x="2022" y="376"/>
                    </a:lnTo>
                    <a:lnTo>
                      <a:pt x="2022" y="402"/>
                    </a:lnTo>
                    <a:lnTo>
                      <a:pt x="2034" y="412"/>
                    </a:lnTo>
                    <a:lnTo>
                      <a:pt x="2046" y="412"/>
                    </a:lnTo>
                    <a:lnTo>
                      <a:pt x="2056" y="426"/>
                    </a:lnTo>
                    <a:lnTo>
                      <a:pt x="2077" y="438"/>
                    </a:lnTo>
                    <a:lnTo>
                      <a:pt x="2068" y="455"/>
                    </a:lnTo>
                    <a:lnTo>
                      <a:pt x="2090" y="481"/>
                    </a:lnTo>
                    <a:lnTo>
                      <a:pt x="2068" y="491"/>
                    </a:lnTo>
                    <a:lnTo>
                      <a:pt x="2090" y="517"/>
                    </a:lnTo>
                    <a:lnTo>
                      <a:pt x="2077" y="517"/>
                    </a:lnTo>
                    <a:lnTo>
                      <a:pt x="2077" y="557"/>
                    </a:lnTo>
                    <a:lnTo>
                      <a:pt x="2077" y="567"/>
                    </a:lnTo>
                    <a:lnTo>
                      <a:pt x="1979" y="466"/>
                    </a:lnTo>
                    <a:lnTo>
                      <a:pt x="1955" y="426"/>
                    </a:lnTo>
                    <a:lnTo>
                      <a:pt x="1969" y="426"/>
                    </a:lnTo>
                    <a:lnTo>
                      <a:pt x="1955" y="412"/>
                    </a:lnTo>
                    <a:lnTo>
                      <a:pt x="1969" y="402"/>
                    </a:lnTo>
                    <a:lnTo>
                      <a:pt x="1979" y="347"/>
                    </a:lnTo>
                    <a:lnTo>
                      <a:pt x="1991" y="337"/>
                    </a:lnTo>
                    <a:lnTo>
                      <a:pt x="1969" y="311"/>
                    </a:lnTo>
                    <a:lnTo>
                      <a:pt x="1969" y="299"/>
                    </a:lnTo>
                    <a:lnTo>
                      <a:pt x="1946" y="299"/>
                    </a:lnTo>
                    <a:lnTo>
                      <a:pt x="1955" y="325"/>
                    </a:lnTo>
                    <a:lnTo>
                      <a:pt x="1946" y="347"/>
                    </a:lnTo>
                    <a:lnTo>
                      <a:pt x="1924" y="337"/>
                    </a:lnTo>
                    <a:lnTo>
                      <a:pt x="1924" y="325"/>
                    </a:lnTo>
                    <a:lnTo>
                      <a:pt x="1878" y="325"/>
                    </a:lnTo>
                    <a:lnTo>
                      <a:pt x="1869" y="361"/>
                    </a:lnTo>
                    <a:lnTo>
                      <a:pt x="1878" y="376"/>
                    </a:lnTo>
                    <a:lnTo>
                      <a:pt x="1902" y="376"/>
                    </a:lnTo>
                    <a:lnTo>
                      <a:pt x="1847" y="390"/>
                    </a:lnTo>
                    <a:lnTo>
                      <a:pt x="1838" y="361"/>
                    </a:lnTo>
                    <a:lnTo>
                      <a:pt x="1801" y="361"/>
                    </a:lnTo>
                    <a:lnTo>
                      <a:pt x="1801" y="376"/>
                    </a:lnTo>
                    <a:lnTo>
                      <a:pt x="1724" y="376"/>
                    </a:lnTo>
                    <a:lnTo>
                      <a:pt x="1707" y="376"/>
                    </a:lnTo>
                    <a:lnTo>
                      <a:pt x="1694" y="455"/>
                    </a:lnTo>
                    <a:lnTo>
                      <a:pt x="1669" y="481"/>
                    </a:lnTo>
                    <a:lnTo>
                      <a:pt x="1707" y="481"/>
                    </a:lnTo>
                    <a:lnTo>
                      <a:pt x="1715" y="503"/>
                    </a:lnTo>
                    <a:lnTo>
                      <a:pt x="1715" y="491"/>
                    </a:lnTo>
                    <a:lnTo>
                      <a:pt x="1724" y="491"/>
                    </a:lnTo>
                    <a:lnTo>
                      <a:pt x="1724" y="503"/>
                    </a:lnTo>
                    <a:lnTo>
                      <a:pt x="1737" y="503"/>
                    </a:lnTo>
                    <a:lnTo>
                      <a:pt x="1746" y="491"/>
                    </a:lnTo>
                    <a:lnTo>
                      <a:pt x="1792" y="517"/>
                    </a:lnTo>
                    <a:lnTo>
                      <a:pt x="1814" y="567"/>
                    </a:lnTo>
                    <a:lnTo>
                      <a:pt x="1847" y="622"/>
                    </a:lnTo>
                    <a:lnTo>
                      <a:pt x="1847" y="694"/>
                    </a:lnTo>
                    <a:lnTo>
                      <a:pt x="1823" y="723"/>
                    </a:lnTo>
                    <a:lnTo>
                      <a:pt x="1823" y="749"/>
                    </a:lnTo>
                    <a:lnTo>
                      <a:pt x="1801" y="759"/>
                    </a:lnTo>
                    <a:lnTo>
                      <a:pt x="1783" y="749"/>
                    </a:lnTo>
                    <a:lnTo>
                      <a:pt x="1771" y="759"/>
                    </a:lnTo>
                    <a:lnTo>
                      <a:pt x="1771" y="749"/>
                    </a:lnTo>
                    <a:lnTo>
                      <a:pt x="1746" y="713"/>
                    </a:lnTo>
                    <a:lnTo>
                      <a:pt x="1762" y="694"/>
                    </a:lnTo>
                    <a:lnTo>
                      <a:pt x="1783" y="713"/>
                    </a:lnTo>
                    <a:lnTo>
                      <a:pt x="1771" y="658"/>
                    </a:lnTo>
                    <a:lnTo>
                      <a:pt x="1771" y="647"/>
                    </a:lnTo>
                    <a:lnTo>
                      <a:pt x="1762" y="622"/>
                    </a:lnTo>
                    <a:lnTo>
                      <a:pt x="1724" y="647"/>
                    </a:lnTo>
                    <a:lnTo>
                      <a:pt x="1715" y="647"/>
                    </a:lnTo>
                    <a:lnTo>
                      <a:pt x="1694" y="622"/>
                    </a:lnTo>
                    <a:lnTo>
                      <a:pt x="1660" y="604"/>
                    </a:lnTo>
                    <a:lnTo>
                      <a:pt x="1630" y="593"/>
                    </a:lnTo>
                    <a:lnTo>
                      <a:pt x="1605" y="567"/>
                    </a:lnTo>
                    <a:lnTo>
                      <a:pt x="1563" y="517"/>
                    </a:lnTo>
                    <a:lnTo>
                      <a:pt x="1516" y="503"/>
                    </a:lnTo>
                    <a:lnTo>
                      <a:pt x="1486" y="517"/>
                    </a:lnTo>
                    <a:lnTo>
                      <a:pt x="1473" y="527"/>
                    </a:lnTo>
                    <a:lnTo>
                      <a:pt x="1498" y="546"/>
                    </a:lnTo>
                    <a:lnTo>
                      <a:pt x="1486" y="557"/>
                    </a:lnTo>
                    <a:lnTo>
                      <a:pt x="1498" y="582"/>
                    </a:lnTo>
                    <a:lnTo>
                      <a:pt x="1473" y="593"/>
                    </a:lnTo>
                    <a:lnTo>
                      <a:pt x="1452" y="593"/>
                    </a:lnTo>
                    <a:lnTo>
                      <a:pt x="1421" y="582"/>
                    </a:lnTo>
                    <a:lnTo>
                      <a:pt x="1397" y="593"/>
                    </a:lnTo>
                    <a:lnTo>
                      <a:pt x="1354" y="604"/>
                    </a:lnTo>
                    <a:lnTo>
                      <a:pt x="1274" y="582"/>
                    </a:lnTo>
                    <a:lnTo>
                      <a:pt x="1231" y="582"/>
                    </a:lnTo>
                    <a:lnTo>
                      <a:pt x="1197" y="557"/>
                    </a:lnTo>
                    <a:lnTo>
                      <a:pt x="1155" y="546"/>
                    </a:lnTo>
                    <a:lnTo>
                      <a:pt x="1145" y="557"/>
                    </a:lnTo>
                    <a:lnTo>
                      <a:pt x="1155" y="567"/>
                    </a:lnTo>
                    <a:lnTo>
                      <a:pt x="1155" y="593"/>
                    </a:lnTo>
                    <a:lnTo>
                      <a:pt x="1109" y="593"/>
                    </a:lnTo>
                    <a:lnTo>
                      <a:pt x="1090" y="582"/>
                    </a:lnTo>
                    <a:lnTo>
                      <a:pt x="1054" y="567"/>
                    </a:lnTo>
                    <a:lnTo>
                      <a:pt x="998" y="604"/>
                    </a:lnTo>
                    <a:lnTo>
                      <a:pt x="990" y="622"/>
                    </a:lnTo>
                    <a:lnTo>
                      <a:pt x="990" y="604"/>
                    </a:lnTo>
                    <a:lnTo>
                      <a:pt x="977" y="593"/>
                    </a:lnTo>
                    <a:lnTo>
                      <a:pt x="968" y="604"/>
                    </a:lnTo>
                    <a:lnTo>
                      <a:pt x="955" y="593"/>
                    </a:lnTo>
                    <a:lnTo>
                      <a:pt x="913" y="567"/>
                    </a:lnTo>
                    <a:lnTo>
                      <a:pt x="879" y="567"/>
                    </a:lnTo>
                    <a:lnTo>
                      <a:pt x="869" y="557"/>
                    </a:lnTo>
                    <a:lnTo>
                      <a:pt x="858" y="567"/>
                    </a:lnTo>
                    <a:lnTo>
                      <a:pt x="814" y="517"/>
                    </a:lnTo>
                    <a:lnTo>
                      <a:pt x="781" y="491"/>
                    </a:lnTo>
                    <a:lnTo>
                      <a:pt x="769" y="491"/>
                    </a:lnTo>
                    <a:lnTo>
                      <a:pt x="747" y="503"/>
                    </a:lnTo>
                    <a:lnTo>
                      <a:pt x="737" y="503"/>
                    </a:lnTo>
                    <a:lnTo>
                      <a:pt x="737" y="491"/>
                    </a:lnTo>
                    <a:lnTo>
                      <a:pt x="714" y="491"/>
                    </a:lnTo>
                    <a:lnTo>
                      <a:pt x="692" y="491"/>
                    </a:lnTo>
                    <a:lnTo>
                      <a:pt x="692" y="481"/>
                    </a:lnTo>
                    <a:lnTo>
                      <a:pt x="682" y="466"/>
                    </a:lnTo>
                    <a:lnTo>
                      <a:pt x="646" y="466"/>
                    </a:lnTo>
                    <a:lnTo>
                      <a:pt x="646" y="481"/>
                    </a:lnTo>
                    <a:lnTo>
                      <a:pt x="615" y="481"/>
                    </a:lnTo>
                    <a:lnTo>
                      <a:pt x="560" y="491"/>
                    </a:lnTo>
                    <a:lnTo>
                      <a:pt x="538" y="491"/>
                    </a:lnTo>
                    <a:lnTo>
                      <a:pt x="538" y="503"/>
                    </a:lnTo>
                    <a:lnTo>
                      <a:pt x="551" y="503"/>
                    </a:lnTo>
                    <a:lnTo>
                      <a:pt x="551" y="517"/>
                    </a:lnTo>
                    <a:lnTo>
                      <a:pt x="538" y="527"/>
                    </a:lnTo>
                    <a:lnTo>
                      <a:pt x="551" y="527"/>
                    </a:lnTo>
                    <a:lnTo>
                      <a:pt x="538" y="546"/>
                    </a:lnTo>
                    <a:lnTo>
                      <a:pt x="569" y="557"/>
                    </a:lnTo>
                    <a:lnTo>
                      <a:pt x="560" y="567"/>
                    </a:lnTo>
                    <a:lnTo>
                      <a:pt x="538" y="567"/>
                    </a:lnTo>
                    <a:lnTo>
                      <a:pt x="514" y="567"/>
                    </a:lnTo>
                    <a:lnTo>
                      <a:pt x="493" y="567"/>
                    </a:lnTo>
                    <a:lnTo>
                      <a:pt x="474" y="567"/>
                    </a:lnTo>
                    <a:lnTo>
                      <a:pt x="462" y="567"/>
                    </a:lnTo>
                    <a:lnTo>
                      <a:pt x="462" y="582"/>
                    </a:lnTo>
                    <a:lnTo>
                      <a:pt x="437" y="557"/>
                    </a:lnTo>
                    <a:lnTo>
                      <a:pt x="419" y="546"/>
                    </a:lnTo>
                    <a:lnTo>
                      <a:pt x="407" y="557"/>
                    </a:lnTo>
                    <a:lnTo>
                      <a:pt x="398" y="557"/>
                    </a:lnTo>
                    <a:lnTo>
                      <a:pt x="373" y="567"/>
                    </a:lnTo>
                    <a:lnTo>
                      <a:pt x="361" y="567"/>
                    </a:lnTo>
                    <a:lnTo>
                      <a:pt x="373" y="593"/>
                    </a:lnTo>
                    <a:lnTo>
                      <a:pt x="361" y="593"/>
                    </a:lnTo>
                    <a:lnTo>
                      <a:pt x="351" y="582"/>
                    </a:lnTo>
                    <a:lnTo>
                      <a:pt x="343" y="622"/>
                    </a:lnTo>
                    <a:lnTo>
                      <a:pt x="351" y="632"/>
                    </a:lnTo>
                    <a:lnTo>
                      <a:pt x="351" y="647"/>
                    </a:lnTo>
                    <a:lnTo>
                      <a:pt x="373" y="647"/>
                    </a:lnTo>
                    <a:lnTo>
                      <a:pt x="382" y="673"/>
                    </a:lnTo>
                    <a:lnTo>
                      <a:pt x="373" y="683"/>
                    </a:lnTo>
                    <a:lnTo>
                      <a:pt x="361" y="683"/>
                    </a:lnTo>
                    <a:lnTo>
                      <a:pt x="351" y="713"/>
                    </a:lnTo>
                    <a:lnTo>
                      <a:pt x="373" y="738"/>
                    </a:lnTo>
                    <a:lnTo>
                      <a:pt x="373" y="759"/>
                    </a:lnTo>
                    <a:lnTo>
                      <a:pt x="398" y="788"/>
                    </a:lnTo>
                    <a:lnTo>
                      <a:pt x="382" y="803"/>
                    </a:lnTo>
                    <a:lnTo>
                      <a:pt x="373" y="803"/>
                    </a:lnTo>
                    <a:lnTo>
                      <a:pt x="361" y="788"/>
                    </a:lnTo>
                    <a:lnTo>
                      <a:pt x="343" y="759"/>
                    </a:lnTo>
                    <a:lnTo>
                      <a:pt x="321" y="759"/>
                    </a:lnTo>
                    <a:lnTo>
                      <a:pt x="296" y="749"/>
                    </a:lnTo>
                    <a:lnTo>
                      <a:pt x="254" y="749"/>
                    </a:lnTo>
                    <a:lnTo>
                      <a:pt x="199" y="713"/>
                    </a:lnTo>
                    <a:lnTo>
                      <a:pt x="189" y="713"/>
                    </a:lnTo>
                    <a:lnTo>
                      <a:pt x="189" y="694"/>
                    </a:lnTo>
                    <a:lnTo>
                      <a:pt x="199" y="694"/>
                    </a:lnTo>
                    <a:lnTo>
                      <a:pt x="208" y="673"/>
                    </a:lnTo>
                    <a:lnTo>
                      <a:pt x="199" y="673"/>
                    </a:lnTo>
                    <a:lnTo>
                      <a:pt x="229" y="658"/>
                    </a:lnTo>
                    <a:lnTo>
                      <a:pt x="208" y="658"/>
                    </a:lnTo>
                    <a:lnTo>
                      <a:pt x="208" y="647"/>
                    </a:lnTo>
                    <a:lnTo>
                      <a:pt x="220" y="632"/>
                    </a:lnTo>
                    <a:lnTo>
                      <a:pt x="229" y="647"/>
                    </a:lnTo>
                    <a:lnTo>
                      <a:pt x="229" y="622"/>
                    </a:lnTo>
                    <a:lnTo>
                      <a:pt x="229" y="604"/>
                    </a:lnTo>
                    <a:lnTo>
                      <a:pt x="229" y="593"/>
                    </a:lnTo>
                    <a:lnTo>
                      <a:pt x="199" y="593"/>
                    </a:lnTo>
                    <a:lnTo>
                      <a:pt x="189" y="582"/>
                    </a:lnTo>
                    <a:lnTo>
                      <a:pt x="152" y="582"/>
                    </a:lnTo>
                    <a:lnTo>
                      <a:pt x="144" y="557"/>
                    </a:lnTo>
                    <a:lnTo>
                      <a:pt x="131" y="557"/>
                    </a:lnTo>
                    <a:lnTo>
                      <a:pt x="131" y="546"/>
                    </a:lnTo>
                    <a:lnTo>
                      <a:pt x="122" y="527"/>
                    </a:lnTo>
                    <a:lnTo>
                      <a:pt x="88" y="546"/>
                    </a:lnTo>
                    <a:lnTo>
                      <a:pt x="76" y="517"/>
                    </a:lnTo>
                    <a:lnTo>
                      <a:pt x="97" y="517"/>
                    </a:lnTo>
                    <a:lnTo>
                      <a:pt x="97" y="503"/>
                    </a:lnTo>
                    <a:lnTo>
                      <a:pt x="88" y="503"/>
                    </a:lnTo>
                    <a:lnTo>
                      <a:pt x="76" y="481"/>
                    </a:lnTo>
                    <a:lnTo>
                      <a:pt x="67" y="455"/>
                    </a:lnTo>
                    <a:lnTo>
                      <a:pt x="33" y="438"/>
                    </a:lnTo>
                    <a:lnTo>
                      <a:pt x="12" y="412"/>
                    </a:lnTo>
                    <a:lnTo>
                      <a:pt x="12" y="402"/>
                    </a:lnTo>
                    <a:lnTo>
                      <a:pt x="0" y="390"/>
                    </a:lnTo>
                    <a:lnTo>
                      <a:pt x="12" y="376"/>
                    </a:lnTo>
                    <a:lnTo>
                      <a:pt x="20" y="376"/>
                    </a:lnTo>
                    <a:lnTo>
                      <a:pt x="33" y="361"/>
                    </a:lnTo>
                    <a:lnTo>
                      <a:pt x="20" y="347"/>
                    </a:lnTo>
                    <a:lnTo>
                      <a:pt x="12" y="347"/>
                    </a:lnTo>
                    <a:lnTo>
                      <a:pt x="55" y="299"/>
                    </a:lnTo>
                    <a:lnTo>
                      <a:pt x="45" y="271"/>
                    </a:lnTo>
                    <a:lnTo>
                      <a:pt x="45" y="260"/>
                    </a:lnTo>
                    <a:lnTo>
                      <a:pt x="33" y="246"/>
                    </a:lnTo>
                    <a:lnTo>
                      <a:pt x="33" y="235"/>
                    </a:lnTo>
                    <a:lnTo>
                      <a:pt x="20" y="210"/>
                    </a:lnTo>
                    <a:lnTo>
                      <a:pt x="20" y="191"/>
                    </a:lnTo>
                    <a:lnTo>
                      <a:pt x="0" y="181"/>
                    </a:lnTo>
                    <a:lnTo>
                      <a:pt x="0" y="170"/>
                    </a:lnTo>
                    <a:lnTo>
                      <a:pt x="12" y="170"/>
                    </a:lnTo>
                    <a:lnTo>
                      <a:pt x="33" y="155"/>
                    </a:lnTo>
                    <a:lnTo>
                      <a:pt x="55" y="144"/>
                    </a:lnTo>
                    <a:lnTo>
                      <a:pt x="113" y="170"/>
                    </a:lnTo>
                    <a:lnTo>
                      <a:pt x="174" y="191"/>
                    </a:lnTo>
                    <a:lnTo>
                      <a:pt x="189" y="210"/>
                    </a:lnTo>
                    <a:lnTo>
                      <a:pt x="144" y="220"/>
                    </a:lnTo>
                    <a:lnTo>
                      <a:pt x="55" y="210"/>
                    </a:lnTo>
                    <a:lnTo>
                      <a:pt x="97" y="235"/>
                    </a:lnTo>
                    <a:lnTo>
                      <a:pt x="97" y="260"/>
                    </a:lnTo>
                    <a:lnTo>
                      <a:pt x="131" y="271"/>
                    </a:lnTo>
                    <a:lnTo>
                      <a:pt x="152" y="271"/>
                    </a:lnTo>
                    <a:lnTo>
                      <a:pt x="144" y="260"/>
                    </a:lnTo>
                    <a:lnTo>
                      <a:pt x="122" y="246"/>
                    </a:lnTo>
                    <a:lnTo>
                      <a:pt x="131" y="246"/>
                    </a:lnTo>
                    <a:lnTo>
                      <a:pt x="189" y="260"/>
                    </a:lnTo>
                    <a:lnTo>
                      <a:pt x="165" y="235"/>
                    </a:lnTo>
                    <a:lnTo>
                      <a:pt x="199" y="220"/>
                    </a:lnTo>
                    <a:lnTo>
                      <a:pt x="220" y="220"/>
                    </a:lnTo>
                    <a:lnTo>
                      <a:pt x="229" y="220"/>
                    </a:lnTo>
                    <a:lnTo>
                      <a:pt x="220" y="210"/>
                    </a:lnTo>
                    <a:lnTo>
                      <a:pt x="220" y="181"/>
                    </a:lnTo>
                    <a:lnTo>
                      <a:pt x="199" y="170"/>
                    </a:lnTo>
                    <a:lnTo>
                      <a:pt x="241" y="181"/>
                    </a:lnTo>
                    <a:lnTo>
                      <a:pt x="254" y="191"/>
                    </a:lnTo>
                    <a:lnTo>
                      <a:pt x="229" y="191"/>
                    </a:lnTo>
                    <a:lnTo>
                      <a:pt x="266" y="210"/>
                    </a:lnTo>
                    <a:lnTo>
                      <a:pt x="276" y="210"/>
                    </a:lnTo>
                    <a:lnTo>
                      <a:pt x="276" y="191"/>
                    </a:lnTo>
                    <a:lnTo>
                      <a:pt x="343" y="170"/>
                    </a:lnTo>
                    <a:lnTo>
                      <a:pt x="361" y="181"/>
                    </a:lnTo>
                    <a:lnTo>
                      <a:pt x="361" y="170"/>
                    </a:lnTo>
                    <a:lnTo>
                      <a:pt x="407" y="170"/>
                    </a:lnTo>
                    <a:lnTo>
                      <a:pt x="419" y="181"/>
                    </a:lnTo>
                    <a:lnTo>
                      <a:pt x="428" y="181"/>
                    </a:lnTo>
                    <a:lnTo>
                      <a:pt x="419" y="170"/>
                    </a:lnTo>
                    <a:lnTo>
                      <a:pt x="437" y="170"/>
                    </a:lnTo>
                    <a:lnTo>
                      <a:pt x="398" y="144"/>
                    </a:lnTo>
                    <a:lnTo>
                      <a:pt x="398" y="133"/>
                    </a:lnTo>
                    <a:lnTo>
                      <a:pt x="538" y="181"/>
                    </a:lnTo>
                    <a:lnTo>
                      <a:pt x="551" y="170"/>
                    </a:lnTo>
                    <a:lnTo>
                      <a:pt x="505" y="155"/>
                    </a:lnTo>
                    <a:lnTo>
                      <a:pt x="505" y="133"/>
                    </a:lnTo>
                    <a:lnTo>
                      <a:pt x="493" y="119"/>
                    </a:lnTo>
                    <a:lnTo>
                      <a:pt x="514" y="79"/>
                    </a:lnTo>
                    <a:lnTo>
                      <a:pt x="530" y="79"/>
                    </a:lnTo>
                    <a:lnTo>
                      <a:pt x="538" y="79"/>
                    </a:lnTo>
                    <a:lnTo>
                      <a:pt x="560" y="90"/>
                    </a:lnTo>
                    <a:lnTo>
                      <a:pt x="560" y="119"/>
                    </a:lnTo>
                    <a:lnTo>
                      <a:pt x="569" y="119"/>
                    </a:lnTo>
                    <a:lnTo>
                      <a:pt x="594" y="170"/>
                    </a:lnTo>
                    <a:lnTo>
                      <a:pt x="606" y="170"/>
                    </a:lnTo>
                    <a:lnTo>
                      <a:pt x="606" y="191"/>
                    </a:lnTo>
                    <a:lnTo>
                      <a:pt x="582" y="210"/>
                    </a:lnTo>
                    <a:lnTo>
                      <a:pt x="606" y="220"/>
                    </a:lnTo>
                    <a:lnTo>
                      <a:pt x="627" y="210"/>
                    </a:lnTo>
                    <a:lnTo>
                      <a:pt x="637" y="191"/>
                    </a:lnTo>
                    <a:lnTo>
                      <a:pt x="615" y="170"/>
                    </a:lnTo>
                    <a:lnTo>
                      <a:pt x="606" y="170"/>
                    </a:lnTo>
                    <a:lnTo>
                      <a:pt x="594" y="155"/>
                    </a:lnTo>
                    <a:lnTo>
                      <a:pt x="594" y="133"/>
                    </a:lnTo>
                    <a:lnTo>
                      <a:pt x="569" y="119"/>
                    </a:lnTo>
                    <a:lnTo>
                      <a:pt x="594" y="9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1" name="Freeform 367">
                <a:extLst>
                  <a:ext uri="{FF2B5EF4-FFF2-40B4-BE49-F238E27FC236}">
                    <a16:creationId xmlns:a16="http://schemas.microsoft.com/office/drawing/2014/main" id="{E4BC4DD5-A32A-471A-894F-C5FDA6542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19429" y="2111668"/>
                <a:ext cx="73512" cy="4220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4" y="31"/>
                  </a:cxn>
                  <a:cxn ang="0">
                    <a:pos x="44" y="31"/>
                  </a:cxn>
                  <a:cxn ang="0">
                    <a:pos x="9" y="31"/>
                  </a:cxn>
                  <a:cxn ang="0">
                    <a:pos x="0" y="0"/>
                  </a:cxn>
                </a:cxnLst>
                <a:rect l="0" t="0" r="r" b="b"/>
                <a:pathLst>
                  <a:path w="54" h="31">
                    <a:moveTo>
                      <a:pt x="0" y="0"/>
                    </a:moveTo>
                    <a:lnTo>
                      <a:pt x="54" y="31"/>
                    </a:lnTo>
                    <a:lnTo>
                      <a:pt x="44" y="31"/>
                    </a:lnTo>
                    <a:lnTo>
                      <a:pt x="9" y="3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2" name="Freeform 397">
                <a:extLst>
                  <a:ext uri="{FF2B5EF4-FFF2-40B4-BE49-F238E27FC236}">
                    <a16:creationId xmlns:a16="http://schemas.microsoft.com/office/drawing/2014/main" id="{B8EAE3F9-2C7D-456E-A789-1743262707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1080" y="1904745"/>
                <a:ext cx="61260" cy="40840"/>
              </a:xfrm>
              <a:custGeom>
                <a:avLst/>
                <a:gdLst/>
                <a:ahLst/>
                <a:cxnLst>
                  <a:cxn ang="0">
                    <a:pos x="14" y="30"/>
                  </a:cxn>
                  <a:cxn ang="0">
                    <a:pos x="0" y="0"/>
                  </a:cxn>
                  <a:cxn ang="0">
                    <a:pos x="45" y="0"/>
                  </a:cxn>
                  <a:cxn ang="0">
                    <a:pos x="14" y="30"/>
                  </a:cxn>
                </a:cxnLst>
                <a:rect l="0" t="0" r="r" b="b"/>
                <a:pathLst>
                  <a:path w="45" h="30">
                    <a:moveTo>
                      <a:pt x="14" y="30"/>
                    </a:moveTo>
                    <a:lnTo>
                      <a:pt x="0" y="0"/>
                    </a:lnTo>
                    <a:lnTo>
                      <a:pt x="45" y="0"/>
                    </a:lnTo>
                    <a:lnTo>
                      <a:pt x="14" y="3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3" name="Freeform 401">
                <a:extLst>
                  <a:ext uri="{FF2B5EF4-FFF2-40B4-BE49-F238E27FC236}">
                    <a16:creationId xmlns:a16="http://schemas.microsoft.com/office/drawing/2014/main" id="{EA5AD394-BCEB-472B-BFF2-697F369BA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105" y="1801283"/>
                <a:ext cx="91209" cy="4084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7" y="0"/>
                  </a:cxn>
                  <a:cxn ang="0">
                    <a:pos x="67" y="30"/>
                  </a:cxn>
                  <a:cxn ang="0">
                    <a:pos x="0" y="0"/>
                  </a:cxn>
                </a:cxnLst>
                <a:rect l="0" t="0" r="r" b="b"/>
                <a:pathLst>
                  <a:path w="67" h="30">
                    <a:moveTo>
                      <a:pt x="0" y="0"/>
                    </a:moveTo>
                    <a:lnTo>
                      <a:pt x="67" y="0"/>
                    </a:lnTo>
                    <a:lnTo>
                      <a:pt x="67" y="3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4" name="Freeform 403">
                <a:extLst>
                  <a:ext uri="{FF2B5EF4-FFF2-40B4-BE49-F238E27FC236}">
                    <a16:creationId xmlns:a16="http://schemas.microsoft.com/office/drawing/2014/main" id="{15E7390B-405A-487F-9B7E-29BF0A08A4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0300" y="1782225"/>
                <a:ext cx="152469" cy="39479"/>
              </a:xfrm>
              <a:custGeom>
                <a:avLst/>
                <a:gdLst/>
                <a:ahLst/>
                <a:cxnLst>
                  <a:cxn ang="0">
                    <a:pos x="11" y="16"/>
                  </a:cxn>
                  <a:cxn ang="0">
                    <a:pos x="0" y="0"/>
                  </a:cxn>
                  <a:cxn ang="0">
                    <a:pos x="11" y="0"/>
                  </a:cxn>
                  <a:cxn ang="0">
                    <a:pos x="54" y="0"/>
                  </a:cxn>
                  <a:cxn ang="0">
                    <a:pos x="112" y="16"/>
                  </a:cxn>
                  <a:cxn ang="0">
                    <a:pos x="97" y="29"/>
                  </a:cxn>
                  <a:cxn ang="0">
                    <a:pos x="54" y="29"/>
                  </a:cxn>
                  <a:cxn ang="0">
                    <a:pos x="11" y="16"/>
                  </a:cxn>
                </a:cxnLst>
                <a:rect l="0" t="0" r="r" b="b"/>
                <a:pathLst>
                  <a:path w="112" h="29">
                    <a:moveTo>
                      <a:pt x="11" y="16"/>
                    </a:moveTo>
                    <a:lnTo>
                      <a:pt x="0" y="0"/>
                    </a:lnTo>
                    <a:lnTo>
                      <a:pt x="11" y="0"/>
                    </a:lnTo>
                    <a:lnTo>
                      <a:pt x="54" y="0"/>
                    </a:lnTo>
                    <a:lnTo>
                      <a:pt x="112" y="16"/>
                    </a:lnTo>
                    <a:lnTo>
                      <a:pt x="97" y="29"/>
                    </a:lnTo>
                    <a:lnTo>
                      <a:pt x="54" y="29"/>
                    </a:lnTo>
                    <a:lnTo>
                      <a:pt x="11" y="1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5" name="Freeform 405">
                <a:extLst>
                  <a:ext uri="{FF2B5EF4-FFF2-40B4-BE49-F238E27FC236}">
                    <a16:creationId xmlns:a16="http://schemas.microsoft.com/office/drawing/2014/main" id="{87366168-241F-4D9F-A87B-2038EAC01E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7803" y="1692375"/>
                <a:ext cx="73512" cy="4084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42" y="16"/>
                  </a:cxn>
                  <a:cxn ang="0">
                    <a:pos x="54" y="30"/>
                  </a:cxn>
                  <a:cxn ang="0">
                    <a:pos x="0" y="30"/>
                  </a:cxn>
                </a:cxnLst>
                <a:rect l="0" t="0" r="r" b="b"/>
                <a:pathLst>
                  <a:path w="54" h="30">
                    <a:moveTo>
                      <a:pt x="0" y="30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42" y="16"/>
                    </a:lnTo>
                    <a:lnTo>
                      <a:pt x="54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6" name="Freeform 344">
                <a:extLst>
                  <a:ext uri="{FF2B5EF4-FFF2-40B4-BE49-F238E27FC236}">
                    <a16:creationId xmlns:a16="http://schemas.microsoft.com/office/drawing/2014/main" id="{7A20389B-A7F9-4254-99D1-386591D2B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9463" y="1654254"/>
                <a:ext cx="160637" cy="58538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9" y="17"/>
                  </a:cxn>
                  <a:cxn ang="0">
                    <a:pos x="9" y="0"/>
                  </a:cxn>
                  <a:cxn ang="0">
                    <a:pos x="30" y="0"/>
                  </a:cxn>
                  <a:cxn ang="0">
                    <a:pos x="106" y="28"/>
                  </a:cxn>
                  <a:cxn ang="0">
                    <a:pos x="118" y="43"/>
                  </a:cxn>
                  <a:cxn ang="0">
                    <a:pos x="54" y="43"/>
                  </a:cxn>
                  <a:cxn ang="0">
                    <a:pos x="0" y="17"/>
                  </a:cxn>
                </a:cxnLst>
                <a:rect l="0" t="0" r="r" b="b"/>
                <a:pathLst>
                  <a:path w="118" h="43">
                    <a:moveTo>
                      <a:pt x="0" y="17"/>
                    </a:moveTo>
                    <a:lnTo>
                      <a:pt x="9" y="17"/>
                    </a:lnTo>
                    <a:lnTo>
                      <a:pt x="9" y="0"/>
                    </a:lnTo>
                    <a:lnTo>
                      <a:pt x="30" y="0"/>
                    </a:lnTo>
                    <a:lnTo>
                      <a:pt x="106" y="28"/>
                    </a:lnTo>
                    <a:lnTo>
                      <a:pt x="118" y="43"/>
                    </a:lnTo>
                    <a:lnTo>
                      <a:pt x="54" y="43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7" name="Freeform 345">
                <a:extLst>
                  <a:ext uri="{FF2B5EF4-FFF2-40B4-BE49-F238E27FC236}">
                    <a16:creationId xmlns:a16="http://schemas.microsoft.com/office/drawing/2014/main" id="{695DBD57-8FF8-4F1B-8971-59FAF962B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6293" y="1761799"/>
                <a:ext cx="257292" cy="163359"/>
              </a:xfrm>
              <a:custGeom>
                <a:avLst/>
                <a:gdLst/>
                <a:ahLst/>
                <a:cxnLst>
                  <a:cxn ang="0">
                    <a:pos x="12" y="105"/>
                  </a:cxn>
                  <a:cxn ang="0">
                    <a:pos x="0" y="91"/>
                  </a:cxn>
                  <a:cxn ang="0">
                    <a:pos x="21" y="76"/>
                  </a:cxn>
                  <a:cxn ang="0">
                    <a:pos x="12" y="76"/>
                  </a:cxn>
                  <a:cxn ang="0">
                    <a:pos x="37" y="65"/>
                  </a:cxn>
                  <a:cxn ang="0">
                    <a:pos x="21" y="50"/>
                  </a:cxn>
                  <a:cxn ang="0">
                    <a:pos x="37" y="50"/>
                  </a:cxn>
                  <a:cxn ang="0">
                    <a:pos x="37" y="28"/>
                  </a:cxn>
                  <a:cxn ang="0">
                    <a:pos x="88" y="14"/>
                  </a:cxn>
                  <a:cxn ang="0">
                    <a:pos x="143" y="0"/>
                  </a:cxn>
                  <a:cxn ang="0">
                    <a:pos x="165" y="0"/>
                  </a:cxn>
                  <a:cxn ang="0">
                    <a:pos x="177" y="0"/>
                  </a:cxn>
                  <a:cxn ang="0">
                    <a:pos x="189" y="14"/>
                  </a:cxn>
                  <a:cxn ang="0">
                    <a:pos x="98" y="28"/>
                  </a:cxn>
                  <a:cxn ang="0">
                    <a:pos x="58" y="76"/>
                  </a:cxn>
                  <a:cxn ang="0">
                    <a:pos x="67" y="105"/>
                  </a:cxn>
                  <a:cxn ang="0">
                    <a:pos x="88" y="120"/>
                  </a:cxn>
                  <a:cxn ang="0">
                    <a:pos x="46" y="120"/>
                  </a:cxn>
                  <a:cxn ang="0">
                    <a:pos x="12" y="105"/>
                  </a:cxn>
                </a:cxnLst>
                <a:rect l="0" t="0" r="r" b="b"/>
                <a:pathLst>
                  <a:path w="189" h="120">
                    <a:moveTo>
                      <a:pt x="12" y="105"/>
                    </a:moveTo>
                    <a:lnTo>
                      <a:pt x="0" y="91"/>
                    </a:lnTo>
                    <a:lnTo>
                      <a:pt x="21" y="76"/>
                    </a:lnTo>
                    <a:lnTo>
                      <a:pt x="12" y="76"/>
                    </a:lnTo>
                    <a:lnTo>
                      <a:pt x="37" y="65"/>
                    </a:lnTo>
                    <a:lnTo>
                      <a:pt x="21" y="50"/>
                    </a:lnTo>
                    <a:lnTo>
                      <a:pt x="37" y="50"/>
                    </a:lnTo>
                    <a:lnTo>
                      <a:pt x="37" y="28"/>
                    </a:lnTo>
                    <a:lnTo>
                      <a:pt x="88" y="14"/>
                    </a:lnTo>
                    <a:lnTo>
                      <a:pt x="143" y="0"/>
                    </a:lnTo>
                    <a:lnTo>
                      <a:pt x="165" y="0"/>
                    </a:lnTo>
                    <a:lnTo>
                      <a:pt x="177" y="0"/>
                    </a:lnTo>
                    <a:lnTo>
                      <a:pt x="189" y="14"/>
                    </a:lnTo>
                    <a:lnTo>
                      <a:pt x="98" y="28"/>
                    </a:lnTo>
                    <a:lnTo>
                      <a:pt x="58" y="76"/>
                    </a:lnTo>
                    <a:lnTo>
                      <a:pt x="67" y="105"/>
                    </a:lnTo>
                    <a:lnTo>
                      <a:pt x="88" y="120"/>
                    </a:lnTo>
                    <a:lnTo>
                      <a:pt x="46" y="120"/>
                    </a:lnTo>
                    <a:lnTo>
                      <a:pt x="12" y="10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8" name="Freeform 346">
                <a:extLst>
                  <a:ext uri="{FF2B5EF4-FFF2-40B4-BE49-F238E27FC236}">
                    <a16:creationId xmlns:a16="http://schemas.microsoft.com/office/drawing/2014/main" id="{134A6C20-A6B8-44DF-929E-B1C28509E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6293" y="1654254"/>
                <a:ext cx="121159" cy="39479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76" y="0"/>
                  </a:cxn>
                  <a:cxn ang="0">
                    <a:pos x="89" y="0"/>
                  </a:cxn>
                  <a:cxn ang="0">
                    <a:pos x="58" y="0"/>
                  </a:cxn>
                  <a:cxn ang="0">
                    <a:pos x="67" y="29"/>
                  </a:cxn>
                  <a:cxn ang="0">
                    <a:pos x="58" y="29"/>
                  </a:cxn>
                  <a:cxn ang="0">
                    <a:pos x="0" y="29"/>
                  </a:cxn>
                </a:cxnLst>
                <a:rect l="0" t="0" r="r" b="b"/>
                <a:pathLst>
                  <a:path w="89" h="29">
                    <a:moveTo>
                      <a:pt x="0" y="29"/>
                    </a:moveTo>
                    <a:lnTo>
                      <a:pt x="76" y="0"/>
                    </a:lnTo>
                    <a:lnTo>
                      <a:pt x="89" y="0"/>
                    </a:lnTo>
                    <a:lnTo>
                      <a:pt x="58" y="0"/>
                    </a:lnTo>
                    <a:lnTo>
                      <a:pt x="67" y="29"/>
                    </a:lnTo>
                    <a:lnTo>
                      <a:pt x="58" y="2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9" name="Freeform 347">
                <a:extLst>
                  <a:ext uri="{FF2B5EF4-FFF2-40B4-BE49-F238E27FC236}">
                    <a16:creationId xmlns:a16="http://schemas.microsoft.com/office/drawing/2014/main" id="{443B6596-D45C-43CF-B959-04E92D9136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5452" y="1639280"/>
                <a:ext cx="70789" cy="39479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21" y="29"/>
                  </a:cxn>
                  <a:cxn ang="0">
                    <a:pos x="42" y="0"/>
                  </a:cxn>
                  <a:cxn ang="0">
                    <a:pos x="42" y="29"/>
                  </a:cxn>
                  <a:cxn ang="0">
                    <a:pos x="52" y="29"/>
                  </a:cxn>
                  <a:cxn ang="0">
                    <a:pos x="0" y="29"/>
                  </a:cxn>
                </a:cxnLst>
                <a:rect l="0" t="0" r="r" b="b"/>
                <a:pathLst>
                  <a:path w="52" h="29">
                    <a:moveTo>
                      <a:pt x="0" y="29"/>
                    </a:moveTo>
                    <a:lnTo>
                      <a:pt x="21" y="29"/>
                    </a:lnTo>
                    <a:lnTo>
                      <a:pt x="42" y="0"/>
                    </a:lnTo>
                    <a:lnTo>
                      <a:pt x="42" y="29"/>
                    </a:lnTo>
                    <a:lnTo>
                      <a:pt x="52" y="2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0" name="Freeform 348">
                <a:extLst>
                  <a:ext uri="{FF2B5EF4-FFF2-40B4-BE49-F238E27FC236}">
                    <a16:creationId xmlns:a16="http://schemas.microsoft.com/office/drawing/2014/main" id="{BAD88667-4065-46EB-913C-DD7BEB04BD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707" y="1654254"/>
                <a:ext cx="102100" cy="39479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29" y="0"/>
                  </a:cxn>
                  <a:cxn ang="0">
                    <a:pos x="75" y="29"/>
                  </a:cxn>
                  <a:cxn ang="0">
                    <a:pos x="63" y="29"/>
                  </a:cxn>
                  <a:cxn ang="0">
                    <a:pos x="54" y="29"/>
                  </a:cxn>
                  <a:cxn ang="0">
                    <a:pos x="0" y="29"/>
                  </a:cxn>
                </a:cxnLst>
                <a:rect l="0" t="0" r="r" b="b"/>
                <a:pathLst>
                  <a:path w="75" h="29">
                    <a:moveTo>
                      <a:pt x="0" y="29"/>
                    </a:moveTo>
                    <a:lnTo>
                      <a:pt x="29" y="0"/>
                    </a:lnTo>
                    <a:lnTo>
                      <a:pt x="75" y="29"/>
                    </a:lnTo>
                    <a:lnTo>
                      <a:pt x="63" y="29"/>
                    </a:lnTo>
                    <a:lnTo>
                      <a:pt x="54" y="2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1" name="Freeform 52">
                <a:extLst>
                  <a:ext uri="{FF2B5EF4-FFF2-40B4-BE49-F238E27FC236}">
                    <a16:creationId xmlns:a16="http://schemas.microsoft.com/office/drawing/2014/main" id="{029B7996-4BC6-4D74-A7E7-189BF19B8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96866" y="2363511"/>
                <a:ext cx="73512" cy="137495"/>
              </a:xfrm>
              <a:custGeom>
                <a:avLst/>
                <a:gdLst/>
                <a:ahLst/>
                <a:cxnLst>
                  <a:cxn ang="0">
                    <a:pos x="0" y="101"/>
                  </a:cxn>
                  <a:cxn ang="0">
                    <a:pos x="21" y="89"/>
                  </a:cxn>
                  <a:cxn ang="0">
                    <a:pos x="41" y="35"/>
                  </a:cxn>
                  <a:cxn ang="0">
                    <a:pos x="32" y="0"/>
                  </a:cxn>
                  <a:cxn ang="0">
                    <a:pos x="41" y="0"/>
                  </a:cxn>
                  <a:cxn ang="0">
                    <a:pos x="54" y="35"/>
                  </a:cxn>
                  <a:cxn ang="0">
                    <a:pos x="54" y="71"/>
                  </a:cxn>
                  <a:cxn ang="0">
                    <a:pos x="32" y="89"/>
                  </a:cxn>
                  <a:cxn ang="0">
                    <a:pos x="32" y="101"/>
                  </a:cxn>
                  <a:cxn ang="0">
                    <a:pos x="12" y="101"/>
                  </a:cxn>
                  <a:cxn ang="0">
                    <a:pos x="0" y="101"/>
                  </a:cxn>
                </a:cxnLst>
                <a:rect l="0" t="0" r="r" b="b"/>
                <a:pathLst>
                  <a:path w="54" h="101">
                    <a:moveTo>
                      <a:pt x="0" y="101"/>
                    </a:moveTo>
                    <a:lnTo>
                      <a:pt x="21" y="89"/>
                    </a:lnTo>
                    <a:lnTo>
                      <a:pt x="41" y="35"/>
                    </a:lnTo>
                    <a:lnTo>
                      <a:pt x="32" y="0"/>
                    </a:lnTo>
                    <a:lnTo>
                      <a:pt x="41" y="0"/>
                    </a:lnTo>
                    <a:lnTo>
                      <a:pt x="54" y="35"/>
                    </a:lnTo>
                    <a:lnTo>
                      <a:pt x="54" y="71"/>
                    </a:lnTo>
                    <a:lnTo>
                      <a:pt x="32" y="89"/>
                    </a:lnTo>
                    <a:lnTo>
                      <a:pt x="32" y="101"/>
                    </a:lnTo>
                    <a:lnTo>
                      <a:pt x="12" y="101"/>
                    </a:lnTo>
                    <a:lnTo>
                      <a:pt x="0" y="10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2" name="Freeform 76">
                <a:extLst>
                  <a:ext uri="{FF2B5EF4-FFF2-40B4-BE49-F238E27FC236}">
                    <a16:creationId xmlns:a16="http://schemas.microsoft.com/office/drawing/2014/main" id="{EFFD9E49-F5F4-488E-B4BF-57B6CF9793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6637" y="2379847"/>
                <a:ext cx="880784" cy="456046"/>
              </a:xfrm>
              <a:custGeom>
                <a:avLst/>
                <a:gdLst/>
                <a:ahLst/>
                <a:cxnLst>
                  <a:cxn ang="0">
                    <a:pos x="634" y="165"/>
                  </a:cxn>
                  <a:cxn ang="0">
                    <a:pos x="625" y="191"/>
                  </a:cxn>
                  <a:cxn ang="0">
                    <a:pos x="594" y="227"/>
                  </a:cxn>
                  <a:cxn ang="0">
                    <a:pos x="579" y="281"/>
                  </a:cxn>
                  <a:cxn ang="0">
                    <a:pos x="557" y="291"/>
                  </a:cxn>
                  <a:cxn ang="0">
                    <a:pos x="471" y="281"/>
                  </a:cxn>
                  <a:cxn ang="0">
                    <a:pos x="459" y="306"/>
                  </a:cxn>
                  <a:cxn ang="0">
                    <a:pos x="425" y="306"/>
                  </a:cxn>
                  <a:cxn ang="0">
                    <a:pos x="394" y="335"/>
                  </a:cxn>
                  <a:cxn ang="0">
                    <a:pos x="361" y="320"/>
                  </a:cxn>
                  <a:cxn ang="0">
                    <a:pos x="339" y="291"/>
                  </a:cxn>
                  <a:cxn ang="0">
                    <a:pos x="272" y="281"/>
                  </a:cxn>
                  <a:cxn ang="0">
                    <a:pos x="162" y="245"/>
                  </a:cxn>
                  <a:cxn ang="0">
                    <a:pos x="171" y="335"/>
                  </a:cxn>
                  <a:cxn ang="0">
                    <a:pos x="130" y="306"/>
                  </a:cxn>
                  <a:cxn ang="0">
                    <a:pos x="119" y="306"/>
                  </a:cxn>
                  <a:cxn ang="0">
                    <a:pos x="106" y="291"/>
                  </a:cxn>
                  <a:cxn ang="0">
                    <a:pos x="94" y="255"/>
                  </a:cxn>
                  <a:cxn ang="0">
                    <a:pos x="94" y="227"/>
                  </a:cxn>
                  <a:cxn ang="0">
                    <a:pos x="119" y="205"/>
                  </a:cxn>
                  <a:cxn ang="0">
                    <a:pos x="75" y="191"/>
                  </a:cxn>
                  <a:cxn ang="0">
                    <a:pos x="30" y="179"/>
                  </a:cxn>
                  <a:cxn ang="0">
                    <a:pos x="8" y="165"/>
                  </a:cxn>
                  <a:cxn ang="0">
                    <a:pos x="8" y="115"/>
                  </a:cxn>
                  <a:cxn ang="0">
                    <a:pos x="30" y="126"/>
                  </a:cxn>
                  <a:cxn ang="0">
                    <a:pos x="30" y="100"/>
                  </a:cxn>
                  <a:cxn ang="0">
                    <a:pos x="64" y="90"/>
                  </a:cxn>
                  <a:cxn ang="0">
                    <a:pos x="94" y="90"/>
                  </a:cxn>
                  <a:cxn ang="0">
                    <a:pos x="119" y="100"/>
                  </a:cxn>
                  <a:cxn ang="0">
                    <a:pos x="149" y="100"/>
                  </a:cxn>
                  <a:cxn ang="0">
                    <a:pos x="195" y="100"/>
                  </a:cxn>
                  <a:cxn ang="0">
                    <a:pos x="226" y="90"/>
                  </a:cxn>
                  <a:cxn ang="0">
                    <a:pos x="207" y="61"/>
                  </a:cxn>
                  <a:cxn ang="0">
                    <a:pos x="207" y="50"/>
                  </a:cxn>
                  <a:cxn ang="0">
                    <a:pos x="195" y="35"/>
                  </a:cxn>
                  <a:cxn ang="0">
                    <a:pos x="217" y="25"/>
                  </a:cxn>
                  <a:cxn ang="0">
                    <a:pos x="303" y="14"/>
                  </a:cxn>
                  <a:cxn ang="0">
                    <a:pos x="339" y="0"/>
                  </a:cxn>
                  <a:cxn ang="0">
                    <a:pos x="348" y="25"/>
                  </a:cxn>
                  <a:cxn ang="0">
                    <a:pos x="394" y="25"/>
                  </a:cxn>
                  <a:cxn ang="0">
                    <a:pos x="404" y="35"/>
                  </a:cxn>
                  <a:cxn ang="0">
                    <a:pos x="438" y="25"/>
                  </a:cxn>
                  <a:cxn ang="0">
                    <a:pos x="515" y="100"/>
                  </a:cxn>
                  <a:cxn ang="0">
                    <a:pos x="535" y="100"/>
                  </a:cxn>
                  <a:cxn ang="0">
                    <a:pos x="612" y="126"/>
                  </a:cxn>
                  <a:cxn ang="0">
                    <a:pos x="634" y="126"/>
                  </a:cxn>
                  <a:cxn ang="0">
                    <a:pos x="647" y="155"/>
                  </a:cxn>
                </a:cxnLst>
                <a:rect l="0" t="0" r="r" b="b"/>
                <a:pathLst>
                  <a:path w="647" h="335">
                    <a:moveTo>
                      <a:pt x="647" y="155"/>
                    </a:moveTo>
                    <a:lnTo>
                      <a:pt x="634" y="165"/>
                    </a:lnTo>
                    <a:lnTo>
                      <a:pt x="634" y="191"/>
                    </a:lnTo>
                    <a:lnTo>
                      <a:pt x="625" y="191"/>
                    </a:lnTo>
                    <a:lnTo>
                      <a:pt x="594" y="191"/>
                    </a:lnTo>
                    <a:lnTo>
                      <a:pt x="594" y="227"/>
                    </a:lnTo>
                    <a:lnTo>
                      <a:pt x="570" y="245"/>
                    </a:lnTo>
                    <a:lnTo>
                      <a:pt x="579" y="281"/>
                    </a:lnTo>
                    <a:lnTo>
                      <a:pt x="579" y="306"/>
                    </a:lnTo>
                    <a:lnTo>
                      <a:pt x="557" y="291"/>
                    </a:lnTo>
                    <a:lnTo>
                      <a:pt x="493" y="291"/>
                    </a:lnTo>
                    <a:lnTo>
                      <a:pt x="471" y="281"/>
                    </a:lnTo>
                    <a:lnTo>
                      <a:pt x="471" y="291"/>
                    </a:lnTo>
                    <a:lnTo>
                      <a:pt x="459" y="306"/>
                    </a:lnTo>
                    <a:lnTo>
                      <a:pt x="425" y="291"/>
                    </a:lnTo>
                    <a:lnTo>
                      <a:pt x="425" y="306"/>
                    </a:lnTo>
                    <a:lnTo>
                      <a:pt x="416" y="320"/>
                    </a:lnTo>
                    <a:lnTo>
                      <a:pt x="394" y="335"/>
                    </a:lnTo>
                    <a:lnTo>
                      <a:pt x="361" y="335"/>
                    </a:lnTo>
                    <a:lnTo>
                      <a:pt x="361" y="320"/>
                    </a:lnTo>
                    <a:lnTo>
                      <a:pt x="348" y="320"/>
                    </a:lnTo>
                    <a:lnTo>
                      <a:pt x="339" y="291"/>
                    </a:lnTo>
                    <a:lnTo>
                      <a:pt x="318" y="270"/>
                    </a:lnTo>
                    <a:lnTo>
                      <a:pt x="272" y="281"/>
                    </a:lnTo>
                    <a:lnTo>
                      <a:pt x="207" y="227"/>
                    </a:lnTo>
                    <a:lnTo>
                      <a:pt x="162" y="245"/>
                    </a:lnTo>
                    <a:lnTo>
                      <a:pt x="186" y="335"/>
                    </a:lnTo>
                    <a:lnTo>
                      <a:pt x="171" y="335"/>
                    </a:lnTo>
                    <a:lnTo>
                      <a:pt x="140" y="306"/>
                    </a:lnTo>
                    <a:lnTo>
                      <a:pt x="130" y="306"/>
                    </a:lnTo>
                    <a:lnTo>
                      <a:pt x="119" y="320"/>
                    </a:lnTo>
                    <a:lnTo>
                      <a:pt x="119" y="306"/>
                    </a:lnTo>
                    <a:lnTo>
                      <a:pt x="119" y="291"/>
                    </a:lnTo>
                    <a:lnTo>
                      <a:pt x="106" y="291"/>
                    </a:lnTo>
                    <a:lnTo>
                      <a:pt x="85" y="255"/>
                    </a:lnTo>
                    <a:lnTo>
                      <a:pt x="94" y="255"/>
                    </a:lnTo>
                    <a:lnTo>
                      <a:pt x="85" y="245"/>
                    </a:lnTo>
                    <a:lnTo>
                      <a:pt x="94" y="227"/>
                    </a:lnTo>
                    <a:lnTo>
                      <a:pt x="140" y="227"/>
                    </a:lnTo>
                    <a:lnTo>
                      <a:pt x="119" y="205"/>
                    </a:lnTo>
                    <a:lnTo>
                      <a:pt x="94" y="191"/>
                    </a:lnTo>
                    <a:lnTo>
                      <a:pt x="75" y="191"/>
                    </a:lnTo>
                    <a:lnTo>
                      <a:pt x="39" y="205"/>
                    </a:lnTo>
                    <a:lnTo>
                      <a:pt x="30" y="179"/>
                    </a:lnTo>
                    <a:lnTo>
                      <a:pt x="8" y="179"/>
                    </a:lnTo>
                    <a:lnTo>
                      <a:pt x="8" y="165"/>
                    </a:lnTo>
                    <a:lnTo>
                      <a:pt x="0" y="155"/>
                    </a:lnTo>
                    <a:lnTo>
                      <a:pt x="8" y="115"/>
                    </a:lnTo>
                    <a:lnTo>
                      <a:pt x="17" y="126"/>
                    </a:lnTo>
                    <a:lnTo>
                      <a:pt x="30" y="126"/>
                    </a:lnTo>
                    <a:lnTo>
                      <a:pt x="17" y="100"/>
                    </a:lnTo>
                    <a:lnTo>
                      <a:pt x="30" y="100"/>
                    </a:lnTo>
                    <a:lnTo>
                      <a:pt x="55" y="90"/>
                    </a:lnTo>
                    <a:lnTo>
                      <a:pt x="64" y="90"/>
                    </a:lnTo>
                    <a:lnTo>
                      <a:pt x="75" y="79"/>
                    </a:lnTo>
                    <a:lnTo>
                      <a:pt x="94" y="90"/>
                    </a:lnTo>
                    <a:lnTo>
                      <a:pt x="119" y="115"/>
                    </a:lnTo>
                    <a:lnTo>
                      <a:pt x="119" y="100"/>
                    </a:lnTo>
                    <a:lnTo>
                      <a:pt x="130" y="100"/>
                    </a:lnTo>
                    <a:lnTo>
                      <a:pt x="149" y="100"/>
                    </a:lnTo>
                    <a:lnTo>
                      <a:pt x="171" y="100"/>
                    </a:lnTo>
                    <a:lnTo>
                      <a:pt x="195" y="100"/>
                    </a:lnTo>
                    <a:lnTo>
                      <a:pt x="217" y="100"/>
                    </a:lnTo>
                    <a:lnTo>
                      <a:pt x="226" y="90"/>
                    </a:lnTo>
                    <a:lnTo>
                      <a:pt x="195" y="79"/>
                    </a:lnTo>
                    <a:lnTo>
                      <a:pt x="207" y="61"/>
                    </a:lnTo>
                    <a:lnTo>
                      <a:pt x="195" y="61"/>
                    </a:lnTo>
                    <a:lnTo>
                      <a:pt x="207" y="50"/>
                    </a:lnTo>
                    <a:lnTo>
                      <a:pt x="207" y="35"/>
                    </a:lnTo>
                    <a:lnTo>
                      <a:pt x="195" y="35"/>
                    </a:lnTo>
                    <a:lnTo>
                      <a:pt x="195" y="25"/>
                    </a:lnTo>
                    <a:lnTo>
                      <a:pt x="217" y="25"/>
                    </a:lnTo>
                    <a:lnTo>
                      <a:pt x="272" y="14"/>
                    </a:lnTo>
                    <a:lnTo>
                      <a:pt x="303" y="14"/>
                    </a:lnTo>
                    <a:lnTo>
                      <a:pt x="303" y="0"/>
                    </a:lnTo>
                    <a:lnTo>
                      <a:pt x="339" y="0"/>
                    </a:lnTo>
                    <a:lnTo>
                      <a:pt x="348" y="14"/>
                    </a:lnTo>
                    <a:lnTo>
                      <a:pt x="348" y="25"/>
                    </a:lnTo>
                    <a:lnTo>
                      <a:pt x="370" y="25"/>
                    </a:lnTo>
                    <a:lnTo>
                      <a:pt x="394" y="25"/>
                    </a:lnTo>
                    <a:lnTo>
                      <a:pt x="394" y="35"/>
                    </a:lnTo>
                    <a:lnTo>
                      <a:pt x="404" y="35"/>
                    </a:lnTo>
                    <a:lnTo>
                      <a:pt x="425" y="25"/>
                    </a:lnTo>
                    <a:lnTo>
                      <a:pt x="438" y="25"/>
                    </a:lnTo>
                    <a:lnTo>
                      <a:pt x="471" y="50"/>
                    </a:lnTo>
                    <a:lnTo>
                      <a:pt x="515" y="100"/>
                    </a:lnTo>
                    <a:lnTo>
                      <a:pt x="526" y="90"/>
                    </a:lnTo>
                    <a:lnTo>
                      <a:pt x="535" y="100"/>
                    </a:lnTo>
                    <a:lnTo>
                      <a:pt x="570" y="100"/>
                    </a:lnTo>
                    <a:lnTo>
                      <a:pt x="612" y="126"/>
                    </a:lnTo>
                    <a:lnTo>
                      <a:pt x="625" y="136"/>
                    </a:lnTo>
                    <a:lnTo>
                      <a:pt x="634" y="126"/>
                    </a:lnTo>
                    <a:lnTo>
                      <a:pt x="647" y="136"/>
                    </a:lnTo>
                    <a:lnTo>
                      <a:pt x="647" y="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3" name="Freeform 78">
                <a:extLst>
                  <a:ext uri="{FF2B5EF4-FFF2-40B4-BE49-F238E27FC236}">
                    <a16:creationId xmlns:a16="http://schemas.microsoft.com/office/drawing/2014/main" id="{AAF78D36-6A14-4AB9-9468-B07C6BFA15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7174" y="2690231"/>
                <a:ext cx="420653" cy="285880"/>
              </a:xfrm>
              <a:custGeom>
                <a:avLst/>
                <a:gdLst/>
                <a:ahLst/>
                <a:cxnLst>
                  <a:cxn ang="0">
                    <a:pos x="208" y="198"/>
                  </a:cxn>
                  <a:cxn ang="0">
                    <a:pos x="208" y="184"/>
                  </a:cxn>
                  <a:cxn ang="0">
                    <a:pos x="186" y="169"/>
                  </a:cxn>
                  <a:cxn ang="0">
                    <a:pos x="131" y="133"/>
                  </a:cxn>
                  <a:cxn ang="0">
                    <a:pos x="122" y="109"/>
                  </a:cxn>
                  <a:cxn ang="0">
                    <a:pos x="89" y="109"/>
                  </a:cxn>
                  <a:cxn ang="0">
                    <a:pos x="76" y="79"/>
                  </a:cxn>
                  <a:cxn ang="0">
                    <a:pos x="54" y="64"/>
                  </a:cxn>
                  <a:cxn ang="0">
                    <a:pos x="45" y="64"/>
                  </a:cxn>
                  <a:cxn ang="0">
                    <a:pos x="33" y="93"/>
                  </a:cxn>
                  <a:cxn ang="0">
                    <a:pos x="33" y="109"/>
                  </a:cxn>
                  <a:cxn ang="0">
                    <a:pos x="24" y="109"/>
                  </a:cxn>
                  <a:cxn ang="0">
                    <a:pos x="0" y="18"/>
                  </a:cxn>
                  <a:cxn ang="0">
                    <a:pos x="45" y="0"/>
                  </a:cxn>
                  <a:cxn ang="0">
                    <a:pos x="109" y="54"/>
                  </a:cxn>
                  <a:cxn ang="0">
                    <a:pos x="156" y="43"/>
                  </a:cxn>
                  <a:cxn ang="0">
                    <a:pos x="177" y="64"/>
                  </a:cxn>
                  <a:cxn ang="0">
                    <a:pos x="186" y="93"/>
                  </a:cxn>
                  <a:cxn ang="0">
                    <a:pos x="199" y="93"/>
                  </a:cxn>
                  <a:cxn ang="0">
                    <a:pos x="199" y="109"/>
                  </a:cxn>
                  <a:cxn ang="0">
                    <a:pos x="232" y="109"/>
                  </a:cxn>
                  <a:cxn ang="0">
                    <a:pos x="254" y="93"/>
                  </a:cxn>
                  <a:cxn ang="0">
                    <a:pos x="275" y="109"/>
                  </a:cxn>
                  <a:cxn ang="0">
                    <a:pos x="275" y="93"/>
                  </a:cxn>
                  <a:cxn ang="0">
                    <a:pos x="309" y="119"/>
                  </a:cxn>
                  <a:cxn ang="0">
                    <a:pos x="285" y="133"/>
                  </a:cxn>
                  <a:cxn ang="0">
                    <a:pos x="263" y="133"/>
                  </a:cxn>
                  <a:cxn ang="0">
                    <a:pos x="263" y="109"/>
                  </a:cxn>
                  <a:cxn ang="0">
                    <a:pos x="241" y="119"/>
                  </a:cxn>
                  <a:cxn ang="0">
                    <a:pos x="241" y="145"/>
                  </a:cxn>
                  <a:cxn ang="0">
                    <a:pos x="217" y="145"/>
                  </a:cxn>
                  <a:cxn ang="0">
                    <a:pos x="232" y="155"/>
                  </a:cxn>
                  <a:cxn ang="0">
                    <a:pos x="241" y="184"/>
                  </a:cxn>
                  <a:cxn ang="0">
                    <a:pos x="232" y="210"/>
                  </a:cxn>
                  <a:cxn ang="0">
                    <a:pos x="208" y="198"/>
                  </a:cxn>
                </a:cxnLst>
                <a:rect l="0" t="0" r="r" b="b"/>
                <a:pathLst>
                  <a:path w="309" h="210">
                    <a:moveTo>
                      <a:pt x="208" y="198"/>
                    </a:moveTo>
                    <a:lnTo>
                      <a:pt x="208" y="184"/>
                    </a:lnTo>
                    <a:lnTo>
                      <a:pt x="186" y="169"/>
                    </a:lnTo>
                    <a:lnTo>
                      <a:pt x="131" y="133"/>
                    </a:lnTo>
                    <a:lnTo>
                      <a:pt x="122" y="109"/>
                    </a:lnTo>
                    <a:lnTo>
                      <a:pt x="89" y="109"/>
                    </a:lnTo>
                    <a:lnTo>
                      <a:pt x="76" y="79"/>
                    </a:lnTo>
                    <a:lnTo>
                      <a:pt x="54" y="64"/>
                    </a:lnTo>
                    <a:lnTo>
                      <a:pt x="45" y="64"/>
                    </a:lnTo>
                    <a:lnTo>
                      <a:pt x="33" y="93"/>
                    </a:lnTo>
                    <a:lnTo>
                      <a:pt x="33" y="109"/>
                    </a:lnTo>
                    <a:lnTo>
                      <a:pt x="24" y="109"/>
                    </a:lnTo>
                    <a:lnTo>
                      <a:pt x="0" y="18"/>
                    </a:lnTo>
                    <a:lnTo>
                      <a:pt x="45" y="0"/>
                    </a:lnTo>
                    <a:lnTo>
                      <a:pt x="109" y="54"/>
                    </a:lnTo>
                    <a:lnTo>
                      <a:pt x="156" y="43"/>
                    </a:lnTo>
                    <a:lnTo>
                      <a:pt x="177" y="64"/>
                    </a:lnTo>
                    <a:lnTo>
                      <a:pt x="186" y="93"/>
                    </a:lnTo>
                    <a:lnTo>
                      <a:pt x="199" y="93"/>
                    </a:lnTo>
                    <a:lnTo>
                      <a:pt x="199" y="109"/>
                    </a:lnTo>
                    <a:lnTo>
                      <a:pt x="232" y="109"/>
                    </a:lnTo>
                    <a:lnTo>
                      <a:pt x="254" y="93"/>
                    </a:lnTo>
                    <a:lnTo>
                      <a:pt x="275" y="109"/>
                    </a:lnTo>
                    <a:lnTo>
                      <a:pt x="275" y="93"/>
                    </a:lnTo>
                    <a:lnTo>
                      <a:pt x="309" y="119"/>
                    </a:lnTo>
                    <a:lnTo>
                      <a:pt x="285" y="133"/>
                    </a:lnTo>
                    <a:lnTo>
                      <a:pt x="263" y="133"/>
                    </a:lnTo>
                    <a:lnTo>
                      <a:pt x="263" y="109"/>
                    </a:lnTo>
                    <a:lnTo>
                      <a:pt x="241" y="119"/>
                    </a:lnTo>
                    <a:lnTo>
                      <a:pt x="241" y="145"/>
                    </a:lnTo>
                    <a:lnTo>
                      <a:pt x="217" y="145"/>
                    </a:lnTo>
                    <a:lnTo>
                      <a:pt x="232" y="155"/>
                    </a:lnTo>
                    <a:lnTo>
                      <a:pt x="241" y="184"/>
                    </a:lnTo>
                    <a:lnTo>
                      <a:pt x="232" y="210"/>
                    </a:lnTo>
                    <a:lnTo>
                      <a:pt x="208" y="19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4" name="Freeform 128">
                <a:extLst>
                  <a:ext uri="{FF2B5EF4-FFF2-40B4-BE49-F238E27FC236}">
                    <a16:creationId xmlns:a16="http://schemas.microsoft.com/office/drawing/2014/main" id="{6E86B6A6-439A-4951-BD4A-234232CE1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9138" y="2428855"/>
                <a:ext cx="1286463" cy="1095872"/>
              </a:xfrm>
              <a:custGeom>
                <a:avLst/>
                <a:gdLst/>
                <a:ahLst/>
                <a:cxnLst>
                  <a:cxn ang="0">
                    <a:pos x="140" y="155"/>
                  </a:cxn>
                  <a:cxn ang="0">
                    <a:pos x="100" y="191"/>
                  </a:cxn>
                  <a:cxn ang="0">
                    <a:pos x="85" y="271"/>
                  </a:cxn>
                  <a:cxn ang="0">
                    <a:pos x="42" y="301"/>
                  </a:cxn>
                  <a:cxn ang="0">
                    <a:pos x="0" y="326"/>
                  </a:cxn>
                  <a:cxn ang="0">
                    <a:pos x="9" y="362"/>
                  </a:cxn>
                  <a:cxn ang="0">
                    <a:pos x="21" y="402"/>
                  </a:cxn>
                  <a:cxn ang="0">
                    <a:pos x="85" y="438"/>
                  </a:cxn>
                  <a:cxn ang="0">
                    <a:pos x="131" y="457"/>
                  </a:cxn>
                  <a:cxn ang="0">
                    <a:pos x="109" y="503"/>
                  </a:cxn>
                  <a:cxn ang="0">
                    <a:pos x="161" y="568"/>
                  </a:cxn>
                  <a:cxn ang="0">
                    <a:pos x="217" y="583"/>
                  </a:cxn>
                  <a:cxn ang="0">
                    <a:pos x="308" y="620"/>
                  </a:cxn>
                  <a:cxn ang="0">
                    <a:pos x="360" y="620"/>
                  </a:cxn>
                  <a:cxn ang="0">
                    <a:pos x="427" y="583"/>
                  </a:cxn>
                  <a:cxn ang="0">
                    <a:pos x="492" y="649"/>
                  </a:cxn>
                  <a:cxn ang="0">
                    <a:pos x="504" y="738"/>
                  </a:cxn>
                  <a:cxn ang="0">
                    <a:pos x="538" y="776"/>
                  </a:cxn>
                  <a:cxn ang="0">
                    <a:pos x="568" y="750"/>
                  </a:cxn>
                  <a:cxn ang="0">
                    <a:pos x="648" y="750"/>
                  </a:cxn>
                  <a:cxn ang="0">
                    <a:pos x="715" y="776"/>
                  </a:cxn>
                  <a:cxn ang="0">
                    <a:pos x="725" y="786"/>
                  </a:cxn>
                  <a:cxn ang="0">
                    <a:pos x="777" y="760"/>
                  </a:cxn>
                  <a:cxn ang="0">
                    <a:pos x="792" y="750"/>
                  </a:cxn>
                  <a:cxn ang="0">
                    <a:pos x="844" y="695"/>
                  </a:cxn>
                  <a:cxn ang="0">
                    <a:pos x="869" y="649"/>
                  </a:cxn>
                  <a:cxn ang="0">
                    <a:pos x="886" y="568"/>
                  </a:cxn>
                  <a:cxn ang="0">
                    <a:pos x="869" y="529"/>
                  </a:cxn>
                  <a:cxn ang="0">
                    <a:pos x="832" y="467"/>
                  </a:cxn>
                  <a:cxn ang="0">
                    <a:pos x="832" y="402"/>
                  </a:cxn>
                  <a:cxn ang="0">
                    <a:pos x="810" y="376"/>
                  </a:cxn>
                  <a:cxn ang="0">
                    <a:pos x="746" y="362"/>
                  </a:cxn>
                  <a:cxn ang="0">
                    <a:pos x="767" y="337"/>
                  </a:cxn>
                  <a:cxn ang="0">
                    <a:pos x="801" y="311"/>
                  </a:cxn>
                  <a:cxn ang="0">
                    <a:pos x="810" y="347"/>
                  </a:cxn>
                  <a:cxn ang="0">
                    <a:pos x="844" y="337"/>
                  </a:cxn>
                  <a:cxn ang="0">
                    <a:pos x="899" y="285"/>
                  </a:cxn>
                  <a:cxn ang="0">
                    <a:pos x="933" y="256"/>
                  </a:cxn>
                  <a:cxn ang="0">
                    <a:pos x="924" y="191"/>
                  </a:cxn>
                  <a:cxn ang="0">
                    <a:pos x="933" y="145"/>
                  </a:cxn>
                  <a:cxn ang="0">
                    <a:pos x="877" y="145"/>
                  </a:cxn>
                  <a:cxn ang="0">
                    <a:pos x="792" y="90"/>
                  </a:cxn>
                  <a:cxn ang="0">
                    <a:pos x="678" y="0"/>
                  </a:cxn>
                  <a:cxn ang="0">
                    <a:pos x="661" y="43"/>
                  </a:cxn>
                  <a:cxn ang="0">
                    <a:pos x="636" y="90"/>
                  </a:cxn>
                  <a:cxn ang="0">
                    <a:pos x="623" y="145"/>
                  </a:cxn>
                  <a:cxn ang="0">
                    <a:pos x="678" y="145"/>
                  </a:cxn>
                  <a:cxn ang="0">
                    <a:pos x="648" y="181"/>
                  </a:cxn>
                  <a:cxn ang="0">
                    <a:pos x="603" y="210"/>
                  </a:cxn>
                  <a:cxn ang="0">
                    <a:pos x="584" y="256"/>
                  </a:cxn>
                  <a:cxn ang="0">
                    <a:pos x="427" y="256"/>
                  </a:cxn>
                  <a:cxn ang="0">
                    <a:pos x="241" y="191"/>
                  </a:cxn>
                  <a:cxn ang="0">
                    <a:pos x="186" y="131"/>
                  </a:cxn>
                </a:cxnLst>
                <a:rect l="0" t="0" r="r" b="b"/>
                <a:pathLst>
                  <a:path w="945" h="805">
                    <a:moveTo>
                      <a:pt x="153" y="119"/>
                    </a:moveTo>
                    <a:lnTo>
                      <a:pt x="140" y="131"/>
                    </a:lnTo>
                    <a:lnTo>
                      <a:pt x="140" y="155"/>
                    </a:lnTo>
                    <a:lnTo>
                      <a:pt x="131" y="155"/>
                    </a:lnTo>
                    <a:lnTo>
                      <a:pt x="100" y="155"/>
                    </a:lnTo>
                    <a:lnTo>
                      <a:pt x="100" y="191"/>
                    </a:lnTo>
                    <a:lnTo>
                      <a:pt x="76" y="210"/>
                    </a:lnTo>
                    <a:lnTo>
                      <a:pt x="85" y="246"/>
                    </a:lnTo>
                    <a:lnTo>
                      <a:pt x="85" y="271"/>
                    </a:lnTo>
                    <a:lnTo>
                      <a:pt x="85" y="285"/>
                    </a:lnTo>
                    <a:lnTo>
                      <a:pt x="64" y="301"/>
                    </a:lnTo>
                    <a:lnTo>
                      <a:pt x="42" y="301"/>
                    </a:lnTo>
                    <a:lnTo>
                      <a:pt x="42" y="311"/>
                    </a:lnTo>
                    <a:lnTo>
                      <a:pt x="9" y="311"/>
                    </a:lnTo>
                    <a:lnTo>
                      <a:pt x="0" y="326"/>
                    </a:lnTo>
                    <a:lnTo>
                      <a:pt x="0" y="337"/>
                    </a:lnTo>
                    <a:lnTo>
                      <a:pt x="0" y="347"/>
                    </a:lnTo>
                    <a:lnTo>
                      <a:pt x="9" y="362"/>
                    </a:lnTo>
                    <a:lnTo>
                      <a:pt x="21" y="362"/>
                    </a:lnTo>
                    <a:lnTo>
                      <a:pt x="21" y="391"/>
                    </a:lnTo>
                    <a:lnTo>
                      <a:pt x="21" y="402"/>
                    </a:lnTo>
                    <a:lnTo>
                      <a:pt x="42" y="402"/>
                    </a:lnTo>
                    <a:lnTo>
                      <a:pt x="54" y="427"/>
                    </a:lnTo>
                    <a:lnTo>
                      <a:pt x="85" y="438"/>
                    </a:lnTo>
                    <a:lnTo>
                      <a:pt x="109" y="427"/>
                    </a:lnTo>
                    <a:lnTo>
                      <a:pt x="131" y="438"/>
                    </a:lnTo>
                    <a:lnTo>
                      <a:pt x="131" y="457"/>
                    </a:lnTo>
                    <a:lnTo>
                      <a:pt x="119" y="478"/>
                    </a:lnTo>
                    <a:lnTo>
                      <a:pt x="131" y="503"/>
                    </a:lnTo>
                    <a:lnTo>
                      <a:pt x="109" y="503"/>
                    </a:lnTo>
                    <a:lnTo>
                      <a:pt x="109" y="518"/>
                    </a:lnTo>
                    <a:lnTo>
                      <a:pt x="131" y="547"/>
                    </a:lnTo>
                    <a:lnTo>
                      <a:pt x="161" y="568"/>
                    </a:lnTo>
                    <a:lnTo>
                      <a:pt x="186" y="568"/>
                    </a:lnTo>
                    <a:lnTo>
                      <a:pt x="208" y="594"/>
                    </a:lnTo>
                    <a:lnTo>
                      <a:pt x="217" y="583"/>
                    </a:lnTo>
                    <a:lnTo>
                      <a:pt x="263" y="620"/>
                    </a:lnTo>
                    <a:lnTo>
                      <a:pt x="293" y="620"/>
                    </a:lnTo>
                    <a:lnTo>
                      <a:pt x="308" y="620"/>
                    </a:lnTo>
                    <a:lnTo>
                      <a:pt x="318" y="634"/>
                    </a:lnTo>
                    <a:lnTo>
                      <a:pt x="330" y="604"/>
                    </a:lnTo>
                    <a:lnTo>
                      <a:pt x="360" y="620"/>
                    </a:lnTo>
                    <a:lnTo>
                      <a:pt x="385" y="604"/>
                    </a:lnTo>
                    <a:lnTo>
                      <a:pt x="407" y="583"/>
                    </a:lnTo>
                    <a:lnTo>
                      <a:pt x="427" y="583"/>
                    </a:lnTo>
                    <a:lnTo>
                      <a:pt x="462" y="620"/>
                    </a:lnTo>
                    <a:lnTo>
                      <a:pt x="482" y="620"/>
                    </a:lnTo>
                    <a:lnTo>
                      <a:pt x="492" y="649"/>
                    </a:lnTo>
                    <a:lnTo>
                      <a:pt x="482" y="724"/>
                    </a:lnTo>
                    <a:lnTo>
                      <a:pt x="504" y="714"/>
                    </a:lnTo>
                    <a:lnTo>
                      <a:pt x="504" y="738"/>
                    </a:lnTo>
                    <a:lnTo>
                      <a:pt x="517" y="738"/>
                    </a:lnTo>
                    <a:lnTo>
                      <a:pt x="517" y="760"/>
                    </a:lnTo>
                    <a:lnTo>
                      <a:pt x="538" y="776"/>
                    </a:lnTo>
                    <a:lnTo>
                      <a:pt x="559" y="776"/>
                    </a:lnTo>
                    <a:lnTo>
                      <a:pt x="559" y="750"/>
                    </a:lnTo>
                    <a:lnTo>
                      <a:pt x="568" y="750"/>
                    </a:lnTo>
                    <a:lnTo>
                      <a:pt x="584" y="750"/>
                    </a:lnTo>
                    <a:lnTo>
                      <a:pt x="623" y="738"/>
                    </a:lnTo>
                    <a:lnTo>
                      <a:pt x="648" y="750"/>
                    </a:lnTo>
                    <a:lnTo>
                      <a:pt x="661" y="760"/>
                    </a:lnTo>
                    <a:lnTo>
                      <a:pt x="678" y="776"/>
                    </a:lnTo>
                    <a:lnTo>
                      <a:pt x="715" y="776"/>
                    </a:lnTo>
                    <a:lnTo>
                      <a:pt x="715" y="805"/>
                    </a:lnTo>
                    <a:lnTo>
                      <a:pt x="725" y="805"/>
                    </a:lnTo>
                    <a:lnTo>
                      <a:pt x="725" y="786"/>
                    </a:lnTo>
                    <a:lnTo>
                      <a:pt x="767" y="760"/>
                    </a:lnTo>
                    <a:lnTo>
                      <a:pt x="767" y="750"/>
                    </a:lnTo>
                    <a:lnTo>
                      <a:pt x="777" y="760"/>
                    </a:lnTo>
                    <a:lnTo>
                      <a:pt x="777" y="750"/>
                    </a:lnTo>
                    <a:lnTo>
                      <a:pt x="792" y="760"/>
                    </a:lnTo>
                    <a:lnTo>
                      <a:pt x="792" y="750"/>
                    </a:lnTo>
                    <a:lnTo>
                      <a:pt x="822" y="738"/>
                    </a:lnTo>
                    <a:lnTo>
                      <a:pt x="844" y="714"/>
                    </a:lnTo>
                    <a:lnTo>
                      <a:pt x="844" y="695"/>
                    </a:lnTo>
                    <a:lnTo>
                      <a:pt x="856" y="695"/>
                    </a:lnTo>
                    <a:lnTo>
                      <a:pt x="869" y="670"/>
                    </a:lnTo>
                    <a:lnTo>
                      <a:pt x="869" y="649"/>
                    </a:lnTo>
                    <a:lnTo>
                      <a:pt x="877" y="620"/>
                    </a:lnTo>
                    <a:lnTo>
                      <a:pt x="886" y="604"/>
                    </a:lnTo>
                    <a:lnTo>
                      <a:pt x="886" y="568"/>
                    </a:lnTo>
                    <a:lnTo>
                      <a:pt x="856" y="558"/>
                    </a:lnTo>
                    <a:lnTo>
                      <a:pt x="877" y="547"/>
                    </a:lnTo>
                    <a:lnTo>
                      <a:pt x="869" y="529"/>
                    </a:lnTo>
                    <a:lnTo>
                      <a:pt x="877" y="529"/>
                    </a:lnTo>
                    <a:lnTo>
                      <a:pt x="856" y="503"/>
                    </a:lnTo>
                    <a:lnTo>
                      <a:pt x="832" y="467"/>
                    </a:lnTo>
                    <a:lnTo>
                      <a:pt x="801" y="457"/>
                    </a:lnTo>
                    <a:lnTo>
                      <a:pt x="822" y="412"/>
                    </a:lnTo>
                    <a:lnTo>
                      <a:pt x="832" y="402"/>
                    </a:lnTo>
                    <a:lnTo>
                      <a:pt x="844" y="402"/>
                    </a:lnTo>
                    <a:lnTo>
                      <a:pt x="844" y="391"/>
                    </a:lnTo>
                    <a:lnTo>
                      <a:pt x="810" y="376"/>
                    </a:lnTo>
                    <a:lnTo>
                      <a:pt x="801" y="402"/>
                    </a:lnTo>
                    <a:lnTo>
                      <a:pt x="792" y="402"/>
                    </a:lnTo>
                    <a:lnTo>
                      <a:pt x="746" y="362"/>
                    </a:lnTo>
                    <a:lnTo>
                      <a:pt x="746" y="347"/>
                    </a:lnTo>
                    <a:lnTo>
                      <a:pt x="767" y="347"/>
                    </a:lnTo>
                    <a:lnTo>
                      <a:pt x="767" y="337"/>
                    </a:lnTo>
                    <a:lnTo>
                      <a:pt x="777" y="326"/>
                    </a:lnTo>
                    <a:lnTo>
                      <a:pt x="792" y="301"/>
                    </a:lnTo>
                    <a:lnTo>
                      <a:pt x="801" y="311"/>
                    </a:lnTo>
                    <a:lnTo>
                      <a:pt x="810" y="311"/>
                    </a:lnTo>
                    <a:lnTo>
                      <a:pt x="801" y="337"/>
                    </a:lnTo>
                    <a:lnTo>
                      <a:pt x="810" y="347"/>
                    </a:lnTo>
                    <a:lnTo>
                      <a:pt x="810" y="362"/>
                    </a:lnTo>
                    <a:lnTo>
                      <a:pt x="832" y="337"/>
                    </a:lnTo>
                    <a:lnTo>
                      <a:pt x="844" y="337"/>
                    </a:lnTo>
                    <a:lnTo>
                      <a:pt x="877" y="285"/>
                    </a:lnTo>
                    <a:lnTo>
                      <a:pt x="899" y="301"/>
                    </a:lnTo>
                    <a:lnTo>
                      <a:pt x="899" y="285"/>
                    </a:lnTo>
                    <a:lnTo>
                      <a:pt x="908" y="271"/>
                    </a:lnTo>
                    <a:lnTo>
                      <a:pt x="908" y="256"/>
                    </a:lnTo>
                    <a:lnTo>
                      <a:pt x="933" y="256"/>
                    </a:lnTo>
                    <a:lnTo>
                      <a:pt x="933" y="246"/>
                    </a:lnTo>
                    <a:lnTo>
                      <a:pt x="908" y="210"/>
                    </a:lnTo>
                    <a:lnTo>
                      <a:pt x="924" y="191"/>
                    </a:lnTo>
                    <a:lnTo>
                      <a:pt x="945" y="210"/>
                    </a:lnTo>
                    <a:lnTo>
                      <a:pt x="933" y="155"/>
                    </a:lnTo>
                    <a:lnTo>
                      <a:pt x="933" y="145"/>
                    </a:lnTo>
                    <a:lnTo>
                      <a:pt x="924" y="119"/>
                    </a:lnTo>
                    <a:lnTo>
                      <a:pt x="886" y="145"/>
                    </a:lnTo>
                    <a:lnTo>
                      <a:pt x="877" y="145"/>
                    </a:lnTo>
                    <a:lnTo>
                      <a:pt x="856" y="119"/>
                    </a:lnTo>
                    <a:lnTo>
                      <a:pt x="822" y="101"/>
                    </a:lnTo>
                    <a:lnTo>
                      <a:pt x="792" y="90"/>
                    </a:lnTo>
                    <a:lnTo>
                      <a:pt x="767" y="65"/>
                    </a:lnTo>
                    <a:lnTo>
                      <a:pt x="725" y="14"/>
                    </a:lnTo>
                    <a:lnTo>
                      <a:pt x="678" y="0"/>
                    </a:lnTo>
                    <a:lnTo>
                      <a:pt x="648" y="14"/>
                    </a:lnTo>
                    <a:lnTo>
                      <a:pt x="636" y="25"/>
                    </a:lnTo>
                    <a:lnTo>
                      <a:pt x="661" y="43"/>
                    </a:lnTo>
                    <a:lnTo>
                      <a:pt x="648" y="54"/>
                    </a:lnTo>
                    <a:lnTo>
                      <a:pt x="661" y="79"/>
                    </a:lnTo>
                    <a:lnTo>
                      <a:pt x="636" y="90"/>
                    </a:lnTo>
                    <a:lnTo>
                      <a:pt x="614" y="90"/>
                    </a:lnTo>
                    <a:lnTo>
                      <a:pt x="603" y="101"/>
                    </a:lnTo>
                    <a:lnTo>
                      <a:pt x="623" y="145"/>
                    </a:lnTo>
                    <a:lnTo>
                      <a:pt x="648" y="145"/>
                    </a:lnTo>
                    <a:lnTo>
                      <a:pt x="670" y="131"/>
                    </a:lnTo>
                    <a:lnTo>
                      <a:pt x="678" y="145"/>
                    </a:lnTo>
                    <a:lnTo>
                      <a:pt x="691" y="170"/>
                    </a:lnTo>
                    <a:lnTo>
                      <a:pt x="661" y="170"/>
                    </a:lnTo>
                    <a:lnTo>
                      <a:pt x="648" y="181"/>
                    </a:lnTo>
                    <a:lnTo>
                      <a:pt x="636" y="191"/>
                    </a:lnTo>
                    <a:lnTo>
                      <a:pt x="623" y="210"/>
                    </a:lnTo>
                    <a:lnTo>
                      <a:pt x="603" y="210"/>
                    </a:lnTo>
                    <a:lnTo>
                      <a:pt x="593" y="220"/>
                    </a:lnTo>
                    <a:lnTo>
                      <a:pt x="603" y="235"/>
                    </a:lnTo>
                    <a:lnTo>
                      <a:pt x="584" y="256"/>
                    </a:lnTo>
                    <a:lnTo>
                      <a:pt x="547" y="271"/>
                    </a:lnTo>
                    <a:lnTo>
                      <a:pt x="504" y="285"/>
                    </a:lnTo>
                    <a:lnTo>
                      <a:pt x="427" y="256"/>
                    </a:lnTo>
                    <a:lnTo>
                      <a:pt x="360" y="256"/>
                    </a:lnTo>
                    <a:lnTo>
                      <a:pt x="318" y="220"/>
                    </a:lnTo>
                    <a:lnTo>
                      <a:pt x="241" y="191"/>
                    </a:lnTo>
                    <a:lnTo>
                      <a:pt x="229" y="155"/>
                    </a:lnTo>
                    <a:lnTo>
                      <a:pt x="208" y="145"/>
                    </a:lnTo>
                    <a:lnTo>
                      <a:pt x="186" y="131"/>
                    </a:lnTo>
                    <a:lnTo>
                      <a:pt x="161" y="101"/>
                    </a:lnTo>
                    <a:lnTo>
                      <a:pt x="153" y="1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5" name="Freeform 144">
                <a:extLst>
                  <a:ext uri="{FF2B5EF4-FFF2-40B4-BE49-F238E27FC236}">
                    <a16:creationId xmlns:a16="http://schemas.microsoft.com/office/drawing/2014/main" id="{B4688F73-2522-40CA-890C-6D198C7A13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0828" y="2777356"/>
                <a:ext cx="121159" cy="161999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89" y="0"/>
                  </a:cxn>
                  <a:cxn ang="0">
                    <a:pos x="79" y="28"/>
                  </a:cxn>
                  <a:cxn ang="0">
                    <a:pos x="89" y="54"/>
                  </a:cxn>
                  <a:cxn ang="0">
                    <a:pos x="54" y="68"/>
                  </a:cxn>
                  <a:cxn ang="0">
                    <a:pos x="64" y="90"/>
                  </a:cxn>
                  <a:cxn ang="0">
                    <a:pos x="89" y="104"/>
                  </a:cxn>
                  <a:cxn ang="0">
                    <a:pos x="79" y="119"/>
                  </a:cxn>
                  <a:cxn ang="0">
                    <a:pos x="64" y="119"/>
                  </a:cxn>
                  <a:cxn ang="0">
                    <a:pos x="33" y="119"/>
                  </a:cxn>
                  <a:cxn ang="0">
                    <a:pos x="33" y="79"/>
                  </a:cxn>
                  <a:cxn ang="0">
                    <a:pos x="0" y="79"/>
                  </a:cxn>
                  <a:cxn ang="0">
                    <a:pos x="33" y="28"/>
                  </a:cxn>
                  <a:cxn ang="0">
                    <a:pos x="54" y="43"/>
                  </a:cxn>
                  <a:cxn ang="0">
                    <a:pos x="54" y="28"/>
                  </a:cxn>
                  <a:cxn ang="0">
                    <a:pos x="64" y="14"/>
                  </a:cxn>
                  <a:cxn ang="0">
                    <a:pos x="64" y="0"/>
                  </a:cxn>
                </a:cxnLst>
                <a:rect l="0" t="0" r="r" b="b"/>
                <a:pathLst>
                  <a:path w="89" h="119">
                    <a:moveTo>
                      <a:pt x="64" y="0"/>
                    </a:moveTo>
                    <a:lnTo>
                      <a:pt x="89" y="0"/>
                    </a:lnTo>
                    <a:lnTo>
                      <a:pt x="79" y="28"/>
                    </a:lnTo>
                    <a:lnTo>
                      <a:pt x="89" y="54"/>
                    </a:lnTo>
                    <a:lnTo>
                      <a:pt x="54" y="68"/>
                    </a:lnTo>
                    <a:lnTo>
                      <a:pt x="64" y="90"/>
                    </a:lnTo>
                    <a:lnTo>
                      <a:pt x="89" y="104"/>
                    </a:lnTo>
                    <a:lnTo>
                      <a:pt x="79" y="119"/>
                    </a:lnTo>
                    <a:lnTo>
                      <a:pt x="64" y="119"/>
                    </a:lnTo>
                    <a:lnTo>
                      <a:pt x="33" y="119"/>
                    </a:lnTo>
                    <a:lnTo>
                      <a:pt x="33" y="79"/>
                    </a:lnTo>
                    <a:lnTo>
                      <a:pt x="0" y="79"/>
                    </a:lnTo>
                    <a:lnTo>
                      <a:pt x="33" y="28"/>
                    </a:lnTo>
                    <a:lnTo>
                      <a:pt x="54" y="43"/>
                    </a:lnTo>
                    <a:lnTo>
                      <a:pt x="54" y="28"/>
                    </a:lnTo>
                    <a:lnTo>
                      <a:pt x="64" y="14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" name="Freeform 146">
                <a:extLst>
                  <a:ext uri="{FF2B5EF4-FFF2-40B4-BE49-F238E27FC236}">
                    <a16:creationId xmlns:a16="http://schemas.microsoft.com/office/drawing/2014/main" id="{7C5C1975-5D3D-4ED7-8E15-D1129D9A0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7953" y="2921657"/>
                <a:ext cx="91209" cy="142940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0" y="28"/>
                  </a:cxn>
                  <a:cxn ang="0">
                    <a:pos x="15" y="40"/>
                  </a:cxn>
                  <a:cxn ang="0">
                    <a:pos x="0" y="40"/>
                  </a:cxn>
                  <a:cxn ang="0">
                    <a:pos x="24" y="64"/>
                  </a:cxn>
                  <a:cxn ang="0">
                    <a:pos x="15" y="76"/>
                  </a:cxn>
                  <a:cxn ang="0">
                    <a:pos x="36" y="105"/>
                  </a:cxn>
                  <a:cxn ang="0">
                    <a:pos x="67" y="76"/>
                  </a:cxn>
                  <a:cxn ang="0">
                    <a:pos x="67" y="64"/>
                  </a:cxn>
                  <a:cxn ang="0">
                    <a:pos x="45" y="28"/>
                  </a:cxn>
                  <a:cxn ang="0">
                    <a:pos x="24" y="0"/>
                  </a:cxn>
                  <a:cxn ang="0">
                    <a:pos x="15" y="14"/>
                  </a:cxn>
                  <a:cxn ang="0">
                    <a:pos x="0" y="14"/>
                  </a:cxn>
                </a:cxnLst>
                <a:rect l="0" t="0" r="r" b="b"/>
                <a:pathLst>
                  <a:path w="67" h="105">
                    <a:moveTo>
                      <a:pt x="0" y="14"/>
                    </a:moveTo>
                    <a:lnTo>
                      <a:pt x="0" y="28"/>
                    </a:lnTo>
                    <a:lnTo>
                      <a:pt x="15" y="40"/>
                    </a:lnTo>
                    <a:lnTo>
                      <a:pt x="0" y="40"/>
                    </a:lnTo>
                    <a:lnTo>
                      <a:pt x="24" y="64"/>
                    </a:lnTo>
                    <a:lnTo>
                      <a:pt x="15" y="76"/>
                    </a:lnTo>
                    <a:lnTo>
                      <a:pt x="36" y="105"/>
                    </a:lnTo>
                    <a:lnTo>
                      <a:pt x="67" y="76"/>
                    </a:lnTo>
                    <a:lnTo>
                      <a:pt x="67" y="64"/>
                    </a:lnTo>
                    <a:lnTo>
                      <a:pt x="45" y="28"/>
                    </a:lnTo>
                    <a:lnTo>
                      <a:pt x="24" y="0"/>
                    </a:lnTo>
                    <a:lnTo>
                      <a:pt x="15" y="14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" name="Freeform 148">
                <a:extLst>
                  <a:ext uri="{FF2B5EF4-FFF2-40B4-BE49-F238E27FC236}">
                    <a16:creationId xmlns:a16="http://schemas.microsoft.com/office/drawing/2014/main" id="{9E6E9D3B-86A7-4D4C-AE88-ECEB020BA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8313" y="2487392"/>
                <a:ext cx="721508" cy="332165"/>
              </a:xfrm>
              <a:custGeom>
                <a:avLst/>
                <a:gdLst/>
                <a:ahLst/>
                <a:cxnLst>
                  <a:cxn ang="0">
                    <a:pos x="441" y="57"/>
                  </a:cxn>
                  <a:cxn ang="0">
                    <a:pos x="453" y="47"/>
                  </a:cxn>
                  <a:cxn ang="0">
                    <a:pos x="423" y="36"/>
                  </a:cxn>
                  <a:cxn ang="0">
                    <a:pos x="398" y="47"/>
                  </a:cxn>
                  <a:cxn ang="0">
                    <a:pos x="355" y="57"/>
                  </a:cxn>
                  <a:cxn ang="0">
                    <a:pos x="275" y="36"/>
                  </a:cxn>
                  <a:cxn ang="0">
                    <a:pos x="233" y="36"/>
                  </a:cxn>
                  <a:cxn ang="0">
                    <a:pos x="199" y="11"/>
                  </a:cxn>
                  <a:cxn ang="0">
                    <a:pos x="156" y="0"/>
                  </a:cxn>
                  <a:cxn ang="0">
                    <a:pos x="147" y="11"/>
                  </a:cxn>
                  <a:cxn ang="0">
                    <a:pos x="156" y="21"/>
                  </a:cxn>
                  <a:cxn ang="0">
                    <a:pos x="156" y="47"/>
                  </a:cxn>
                  <a:cxn ang="0">
                    <a:pos x="110" y="47"/>
                  </a:cxn>
                  <a:cxn ang="0">
                    <a:pos x="92" y="36"/>
                  </a:cxn>
                  <a:cxn ang="0">
                    <a:pos x="55" y="21"/>
                  </a:cxn>
                  <a:cxn ang="0">
                    <a:pos x="0" y="57"/>
                  </a:cxn>
                  <a:cxn ang="0">
                    <a:pos x="24" y="86"/>
                  </a:cxn>
                  <a:cxn ang="0">
                    <a:pos x="46" y="102"/>
                  </a:cxn>
                  <a:cxn ang="0">
                    <a:pos x="67" y="112"/>
                  </a:cxn>
                  <a:cxn ang="0">
                    <a:pos x="79" y="148"/>
                  </a:cxn>
                  <a:cxn ang="0">
                    <a:pos x="156" y="177"/>
                  </a:cxn>
                  <a:cxn ang="0">
                    <a:pos x="199" y="214"/>
                  </a:cxn>
                  <a:cxn ang="0">
                    <a:pos x="266" y="214"/>
                  </a:cxn>
                  <a:cxn ang="0">
                    <a:pos x="343" y="244"/>
                  </a:cxn>
                  <a:cxn ang="0">
                    <a:pos x="385" y="228"/>
                  </a:cxn>
                  <a:cxn ang="0">
                    <a:pos x="423" y="214"/>
                  </a:cxn>
                  <a:cxn ang="0">
                    <a:pos x="441" y="192"/>
                  </a:cxn>
                  <a:cxn ang="0">
                    <a:pos x="432" y="177"/>
                  </a:cxn>
                  <a:cxn ang="0">
                    <a:pos x="441" y="167"/>
                  </a:cxn>
                  <a:cxn ang="0">
                    <a:pos x="462" y="167"/>
                  </a:cxn>
                  <a:cxn ang="0">
                    <a:pos x="475" y="148"/>
                  </a:cxn>
                  <a:cxn ang="0">
                    <a:pos x="487" y="138"/>
                  </a:cxn>
                  <a:cxn ang="0">
                    <a:pos x="499" y="127"/>
                  </a:cxn>
                  <a:cxn ang="0">
                    <a:pos x="530" y="127"/>
                  </a:cxn>
                  <a:cxn ang="0">
                    <a:pos x="517" y="102"/>
                  </a:cxn>
                  <a:cxn ang="0">
                    <a:pos x="509" y="86"/>
                  </a:cxn>
                  <a:cxn ang="0">
                    <a:pos x="487" y="102"/>
                  </a:cxn>
                  <a:cxn ang="0">
                    <a:pos x="462" y="102"/>
                  </a:cxn>
                  <a:cxn ang="0">
                    <a:pos x="441" y="57"/>
                  </a:cxn>
                </a:cxnLst>
                <a:rect l="0" t="0" r="r" b="b"/>
                <a:pathLst>
                  <a:path w="530" h="244">
                    <a:moveTo>
                      <a:pt x="441" y="57"/>
                    </a:moveTo>
                    <a:lnTo>
                      <a:pt x="453" y="47"/>
                    </a:lnTo>
                    <a:lnTo>
                      <a:pt x="423" y="36"/>
                    </a:lnTo>
                    <a:lnTo>
                      <a:pt x="398" y="47"/>
                    </a:lnTo>
                    <a:lnTo>
                      <a:pt x="355" y="57"/>
                    </a:lnTo>
                    <a:lnTo>
                      <a:pt x="275" y="36"/>
                    </a:lnTo>
                    <a:lnTo>
                      <a:pt x="233" y="36"/>
                    </a:lnTo>
                    <a:lnTo>
                      <a:pt x="199" y="11"/>
                    </a:lnTo>
                    <a:lnTo>
                      <a:pt x="156" y="0"/>
                    </a:lnTo>
                    <a:lnTo>
                      <a:pt x="147" y="11"/>
                    </a:lnTo>
                    <a:lnTo>
                      <a:pt x="156" y="21"/>
                    </a:lnTo>
                    <a:lnTo>
                      <a:pt x="156" y="47"/>
                    </a:lnTo>
                    <a:lnTo>
                      <a:pt x="110" y="47"/>
                    </a:lnTo>
                    <a:lnTo>
                      <a:pt x="92" y="36"/>
                    </a:lnTo>
                    <a:lnTo>
                      <a:pt x="55" y="21"/>
                    </a:lnTo>
                    <a:lnTo>
                      <a:pt x="0" y="57"/>
                    </a:lnTo>
                    <a:lnTo>
                      <a:pt x="24" y="86"/>
                    </a:lnTo>
                    <a:lnTo>
                      <a:pt x="46" y="102"/>
                    </a:lnTo>
                    <a:lnTo>
                      <a:pt x="67" y="112"/>
                    </a:lnTo>
                    <a:lnTo>
                      <a:pt x="79" y="148"/>
                    </a:lnTo>
                    <a:lnTo>
                      <a:pt x="156" y="177"/>
                    </a:lnTo>
                    <a:lnTo>
                      <a:pt x="199" y="214"/>
                    </a:lnTo>
                    <a:lnTo>
                      <a:pt x="266" y="214"/>
                    </a:lnTo>
                    <a:lnTo>
                      <a:pt x="343" y="244"/>
                    </a:lnTo>
                    <a:lnTo>
                      <a:pt x="385" y="228"/>
                    </a:lnTo>
                    <a:lnTo>
                      <a:pt x="423" y="214"/>
                    </a:lnTo>
                    <a:lnTo>
                      <a:pt x="441" y="192"/>
                    </a:lnTo>
                    <a:lnTo>
                      <a:pt x="432" y="177"/>
                    </a:lnTo>
                    <a:lnTo>
                      <a:pt x="441" y="167"/>
                    </a:lnTo>
                    <a:lnTo>
                      <a:pt x="462" y="167"/>
                    </a:lnTo>
                    <a:lnTo>
                      <a:pt x="475" y="148"/>
                    </a:lnTo>
                    <a:lnTo>
                      <a:pt x="487" y="138"/>
                    </a:lnTo>
                    <a:lnTo>
                      <a:pt x="499" y="127"/>
                    </a:lnTo>
                    <a:lnTo>
                      <a:pt x="530" y="127"/>
                    </a:lnTo>
                    <a:lnTo>
                      <a:pt x="517" y="102"/>
                    </a:lnTo>
                    <a:lnTo>
                      <a:pt x="509" y="86"/>
                    </a:lnTo>
                    <a:lnTo>
                      <a:pt x="487" y="102"/>
                    </a:lnTo>
                    <a:lnTo>
                      <a:pt x="462" y="102"/>
                    </a:lnTo>
                    <a:lnTo>
                      <a:pt x="441" y="5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" name="Freeform 389">
                <a:extLst>
                  <a:ext uri="{FF2B5EF4-FFF2-40B4-BE49-F238E27FC236}">
                    <a16:creationId xmlns:a16="http://schemas.microsoft.com/office/drawing/2014/main" id="{FA1B0CE4-376D-4C85-8A2A-37A87FB2B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1805" y="3080940"/>
                <a:ext cx="53092" cy="91209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9" y="0"/>
                  </a:cxn>
                  <a:cxn ang="0">
                    <a:pos x="30" y="0"/>
                  </a:cxn>
                  <a:cxn ang="0">
                    <a:pos x="39" y="24"/>
                  </a:cxn>
                  <a:cxn ang="0">
                    <a:pos x="39" y="49"/>
                  </a:cxn>
                  <a:cxn ang="0">
                    <a:pos x="30" y="67"/>
                  </a:cxn>
                  <a:cxn ang="0">
                    <a:pos x="21" y="67"/>
                  </a:cxn>
                  <a:cxn ang="0">
                    <a:pos x="21" y="24"/>
                  </a:cxn>
                  <a:cxn ang="0">
                    <a:pos x="9" y="14"/>
                  </a:cxn>
                  <a:cxn ang="0">
                    <a:pos x="9" y="24"/>
                  </a:cxn>
                  <a:cxn ang="0">
                    <a:pos x="0" y="14"/>
                  </a:cxn>
                </a:cxnLst>
                <a:rect l="0" t="0" r="r" b="b"/>
                <a:pathLst>
                  <a:path w="39" h="67">
                    <a:moveTo>
                      <a:pt x="0" y="14"/>
                    </a:moveTo>
                    <a:lnTo>
                      <a:pt x="9" y="0"/>
                    </a:lnTo>
                    <a:lnTo>
                      <a:pt x="30" y="0"/>
                    </a:lnTo>
                    <a:lnTo>
                      <a:pt x="39" y="24"/>
                    </a:lnTo>
                    <a:lnTo>
                      <a:pt x="39" y="49"/>
                    </a:lnTo>
                    <a:lnTo>
                      <a:pt x="30" y="67"/>
                    </a:lnTo>
                    <a:lnTo>
                      <a:pt x="21" y="67"/>
                    </a:lnTo>
                    <a:lnTo>
                      <a:pt x="21" y="24"/>
                    </a:lnTo>
                    <a:lnTo>
                      <a:pt x="9" y="14"/>
                    </a:lnTo>
                    <a:lnTo>
                      <a:pt x="9" y="24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" name="Freeform 393">
                <a:extLst>
                  <a:ext uri="{FF2B5EF4-FFF2-40B4-BE49-F238E27FC236}">
                    <a16:creationId xmlns:a16="http://schemas.microsoft.com/office/drawing/2014/main" id="{DFC51DA7-5F78-4283-87E1-B9FB50CBA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32696" y="2819563"/>
                <a:ext cx="225981" cy="277713"/>
              </a:xfrm>
              <a:custGeom>
                <a:avLst/>
                <a:gdLst/>
                <a:ahLst/>
                <a:cxnLst>
                  <a:cxn ang="0">
                    <a:pos x="0" y="179"/>
                  </a:cxn>
                  <a:cxn ang="0">
                    <a:pos x="21" y="150"/>
                  </a:cxn>
                  <a:cxn ang="0">
                    <a:pos x="67" y="139"/>
                  </a:cxn>
                  <a:cxn ang="0">
                    <a:pos x="76" y="150"/>
                  </a:cxn>
                  <a:cxn ang="0">
                    <a:pos x="76" y="139"/>
                  </a:cxn>
                  <a:cxn ang="0">
                    <a:pos x="76" y="103"/>
                  </a:cxn>
                  <a:cxn ang="0">
                    <a:pos x="89" y="103"/>
                  </a:cxn>
                  <a:cxn ang="0">
                    <a:pos x="89" y="114"/>
                  </a:cxn>
                  <a:cxn ang="0">
                    <a:pos x="107" y="103"/>
                  </a:cxn>
                  <a:cxn ang="0">
                    <a:pos x="107" y="60"/>
                  </a:cxn>
                  <a:cxn ang="0">
                    <a:pos x="98" y="14"/>
                  </a:cxn>
                  <a:cxn ang="0">
                    <a:pos x="107" y="14"/>
                  </a:cxn>
                  <a:cxn ang="0">
                    <a:pos x="98" y="0"/>
                  </a:cxn>
                  <a:cxn ang="0">
                    <a:pos x="107" y="14"/>
                  </a:cxn>
                  <a:cxn ang="0">
                    <a:pos x="144" y="60"/>
                  </a:cxn>
                  <a:cxn ang="0">
                    <a:pos x="153" y="74"/>
                  </a:cxn>
                  <a:cxn ang="0">
                    <a:pos x="144" y="74"/>
                  </a:cxn>
                  <a:cxn ang="0">
                    <a:pos x="144" y="89"/>
                  </a:cxn>
                  <a:cxn ang="0">
                    <a:pos x="166" y="139"/>
                  </a:cxn>
                  <a:cxn ang="0">
                    <a:pos x="166" y="150"/>
                  </a:cxn>
                  <a:cxn ang="0">
                    <a:pos x="153" y="168"/>
                  </a:cxn>
                  <a:cxn ang="0">
                    <a:pos x="144" y="150"/>
                  </a:cxn>
                  <a:cxn ang="0">
                    <a:pos x="144" y="168"/>
                  </a:cxn>
                  <a:cxn ang="0">
                    <a:pos x="131" y="150"/>
                  </a:cxn>
                  <a:cxn ang="0">
                    <a:pos x="122" y="168"/>
                  </a:cxn>
                  <a:cxn ang="0">
                    <a:pos x="107" y="168"/>
                  </a:cxn>
                  <a:cxn ang="0">
                    <a:pos x="98" y="168"/>
                  </a:cxn>
                  <a:cxn ang="0">
                    <a:pos x="107" y="179"/>
                  </a:cxn>
                  <a:cxn ang="0">
                    <a:pos x="98" y="204"/>
                  </a:cxn>
                  <a:cxn ang="0">
                    <a:pos x="76" y="189"/>
                  </a:cxn>
                  <a:cxn ang="0">
                    <a:pos x="76" y="168"/>
                  </a:cxn>
                  <a:cxn ang="0">
                    <a:pos x="67" y="168"/>
                  </a:cxn>
                  <a:cxn ang="0">
                    <a:pos x="31" y="179"/>
                  </a:cxn>
                  <a:cxn ang="0">
                    <a:pos x="21" y="189"/>
                  </a:cxn>
                  <a:cxn ang="0">
                    <a:pos x="12" y="189"/>
                  </a:cxn>
                  <a:cxn ang="0">
                    <a:pos x="0" y="179"/>
                  </a:cxn>
                </a:cxnLst>
                <a:rect l="0" t="0" r="r" b="b"/>
                <a:pathLst>
                  <a:path w="166" h="204">
                    <a:moveTo>
                      <a:pt x="0" y="179"/>
                    </a:moveTo>
                    <a:lnTo>
                      <a:pt x="21" y="150"/>
                    </a:lnTo>
                    <a:lnTo>
                      <a:pt x="67" y="139"/>
                    </a:lnTo>
                    <a:lnTo>
                      <a:pt x="76" y="150"/>
                    </a:lnTo>
                    <a:lnTo>
                      <a:pt x="76" y="139"/>
                    </a:lnTo>
                    <a:lnTo>
                      <a:pt x="76" y="103"/>
                    </a:lnTo>
                    <a:lnTo>
                      <a:pt x="89" y="103"/>
                    </a:lnTo>
                    <a:lnTo>
                      <a:pt x="89" y="114"/>
                    </a:lnTo>
                    <a:lnTo>
                      <a:pt x="107" y="103"/>
                    </a:lnTo>
                    <a:lnTo>
                      <a:pt x="107" y="60"/>
                    </a:lnTo>
                    <a:lnTo>
                      <a:pt x="98" y="14"/>
                    </a:lnTo>
                    <a:lnTo>
                      <a:pt x="107" y="14"/>
                    </a:lnTo>
                    <a:lnTo>
                      <a:pt x="98" y="0"/>
                    </a:lnTo>
                    <a:lnTo>
                      <a:pt x="107" y="14"/>
                    </a:lnTo>
                    <a:lnTo>
                      <a:pt x="144" y="60"/>
                    </a:lnTo>
                    <a:lnTo>
                      <a:pt x="153" y="74"/>
                    </a:lnTo>
                    <a:lnTo>
                      <a:pt x="144" y="74"/>
                    </a:lnTo>
                    <a:lnTo>
                      <a:pt x="144" y="89"/>
                    </a:lnTo>
                    <a:lnTo>
                      <a:pt x="166" y="139"/>
                    </a:lnTo>
                    <a:lnTo>
                      <a:pt x="166" y="150"/>
                    </a:lnTo>
                    <a:lnTo>
                      <a:pt x="153" y="168"/>
                    </a:lnTo>
                    <a:lnTo>
                      <a:pt x="144" y="150"/>
                    </a:lnTo>
                    <a:lnTo>
                      <a:pt x="144" y="168"/>
                    </a:lnTo>
                    <a:lnTo>
                      <a:pt x="131" y="150"/>
                    </a:lnTo>
                    <a:lnTo>
                      <a:pt x="122" y="168"/>
                    </a:lnTo>
                    <a:lnTo>
                      <a:pt x="107" y="168"/>
                    </a:lnTo>
                    <a:lnTo>
                      <a:pt x="98" y="168"/>
                    </a:lnTo>
                    <a:lnTo>
                      <a:pt x="107" y="179"/>
                    </a:lnTo>
                    <a:lnTo>
                      <a:pt x="98" y="204"/>
                    </a:lnTo>
                    <a:lnTo>
                      <a:pt x="76" y="189"/>
                    </a:lnTo>
                    <a:lnTo>
                      <a:pt x="76" y="168"/>
                    </a:lnTo>
                    <a:lnTo>
                      <a:pt x="67" y="168"/>
                    </a:lnTo>
                    <a:lnTo>
                      <a:pt x="31" y="179"/>
                    </a:lnTo>
                    <a:lnTo>
                      <a:pt x="21" y="189"/>
                    </a:lnTo>
                    <a:lnTo>
                      <a:pt x="12" y="189"/>
                    </a:lnTo>
                    <a:lnTo>
                      <a:pt x="0" y="17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" name="Freeform 395">
                <a:extLst>
                  <a:ext uri="{FF2B5EF4-FFF2-40B4-BE49-F238E27FC236}">
                    <a16:creationId xmlns:a16="http://schemas.microsoft.com/office/drawing/2014/main" id="{3E88876E-871B-4FE9-863F-A71B90B3B9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25266" y="2690237"/>
                <a:ext cx="134772" cy="145663"/>
              </a:xfrm>
              <a:custGeom>
                <a:avLst/>
                <a:gdLst/>
                <a:ahLst/>
                <a:cxnLst>
                  <a:cxn ang="0">
                    <a:pos x="9" y="64"/>
                  </a:cxn>
                  <a:cxn ang="0">
                    <a:pos x="9" y="54"/>
                  </a:cxn>
                  <a:cxn ang="0">
                    <a:pos x="21" y="54"/>
                  </a:cxn>
                  <a:cxn ang="0">
                    <a:pos x="9" y="18"/>
                  </a:cxn>
                  <a:cxn ang="0">
                    <a:pos x="0" y="0"/>
                  </a:cxn>
                  <a:cxn ang="0">
                    <a:pos x="55" y="28"/>
                  </a:cxn>
                  <a:cxn ang="0">
                    <a:pos x="64" y="42"/>
                  </a:cxn>
                  <a:cxn ang="0">
                    <a:pos x="77" y="28"/>
                  </a:cxn>
                  <a:cxn ang="0">
                    <a:pos x="77" y="42"/>
                  </a:cxn>
                  <a:cxn ang="0">
                    <a:pos x="86" y="54"/>
                  </a:cxn>
                  <a:cxn ang="0">
                    <a:pos x="99" y="54"/>
                  </a:cxn>
                  <a:cxn ang="0">
                    <a:pos x="86" y="64"/>
                  </a:cxn>
                  <a:cxn ang="0">
                    <a:pos x="77" y="64"/>
                  </a:cxn>
                  <a:cxn ang="0">
                    <a:pos x="64" y="78"/>
                  </a:cxn>
                  <a:cxn ang="0">
                    <a:pos x="40" y="64"/>
                  </a:cxn>
                  <a:cxn ang="0">
                    <a:pos x="31" y="78"/>
                  </a:cxn>
                  <a:cxn ang="0">
                    <a:pos x="21" y="64"/>
                  </a:cxn>
                  <a:cxn ang="0">
                    <a:pos x="31" y="92"/>
                  </a:cxn>
                  <a:cxn ang="0">
                    <a:pos x="21" y="107"/>
                  </a:cxn>
                  <a:cxn ang="0">
                    <a:pos x="9" y="64"/>
                  </a:cxn>
                </a:cxnLst>
                <a:rect l="0" t="0" r="r" b="b"/>
                <a:pathLst>
                  <a:path w="99" h="107">
                    <a:moveTo>
                      <a:pt x="9" y="64"/>
                    </a:moveTo>
                    <a:lnTo>
                      <a:pt x="9" y="54"/>
                    </a:lnTo>
                    <a:lnTo>
                      <a:pt x="21" y="54"/>
                    </a:lnTo>
                    <a:lnTo>
                      <a:pt x="9" y="18"/>
                    </a:lnTo>
                    <a:lnTo>
                      <a:pt x="0" y="0"/>
                    </a:lnTo>
                    <a:lnTo>
                      <a:pt x="55" y="28"/>
                    </a:lnTo>
                    <a:lnTo>
                      <a:pt x="64" y="42"/>
                    </a:lnTo>
                    <a:lnTo>
                      <a:pt x="77" y="28"/>
                    </a:lnTo>
                    <a:lnTo>
                      <a:pt x="77" y="42"/>
                    </a:lnTo>
                    <a:lnTo>
                      <a:pt x="86" y="54"/>
                    </a:lnTo>
                    <a:lnTo>
                      <a:pt x="99" y="54"/>
                    </a:lnTo>
                    <a:lnTo>
                      <a:pt x="86" y="64"/>
                    </a:lnTo>
                    <a:lnTo>
                      <a:pt x="77" y="64"/>
                    </a:lnTo>
                    <a:lnTo>
                      <a:pt x="64" y="78"/>
                    </a:lnTo>
                    <a:lnTo>
                      <a:pt x="40" y="64"/>
                    </a:lnTo>
                    <a:lnTo>
                      <a:pt x="31" y="78"/>
                    </a:lnTo>
                    <a:lnTo>
                      <a:pt x="21" y="64"/>
                    </a:lnTo>
                    <a:lnTo>
                      <a:pt x="31" y="92"/>
                    </a:lnTo>
                    <a:lnTo>
                      <a:pt x="21" y="107"/>
                    </a:lnTo>
                    <a:lnTo>
                      <a:pt x="9" y="6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1" name="Freeform 399">
                <a:extLst>
                  <a:ext uri="{FF2B5EF4-FFF2-40B4-BE49-F238E27FC236}">
                    <a16:creationId xmlns:a16="http://schemas.microsoft.com/office/drawing/2014/main" id="{865CCA1F-12F0-4DAD-8948-37AC25E87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3710" y="1831233"/>
                <a:ext cx="61260" cy="39479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0"/>
                  </a:cxn>
                  <a:cxn ang="0">
                    <a:pos x="15" y="0"/>
                  </a:cxn>
                  <a:cxn ang="0">
                    <a:pos x="45" y="29"/>
                  </a:cxn>
                  <a:cxn ang="0">
                    <a:pos x="0" y="29"/>
                  </a:cxn>
                </a:cxnLst>
                <a:rect l="0" t="0" r="r" b="b"/>
                <a:pathLst>
                  <a:path w="45" h="29">
                    <a:moveTo>
                      <a:pt x="0" y="29"/>
                    </a:moveTo>
                    <a:lnTo>
                      <a:pt x="0" y="0"/>
                    </a:lnTo>
                    <a:lnTo>
                      <a:pt x="15" y="0"/>
                    </a:lnTo>
                    <a:lnTo>
                      <a:pt x="45" y="2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2" name="Freeform 360">
                <a:extLst>
                  <a:ext uri="{FF2B5EF4-FFF2-40B4-BE49-F238E27FC236}">
                    <a16:creationId xmlns:a16="http://schemas.microsoft.com/office/drawing/2014/main" id="{51AAAC57-8EC2-467D-8DC5-795779FF5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0538" y="2415237"/>
                <a:ext cx="194670" cy="260014"/>
              </a:xfrm>
              <a:custGeom>
                <a:avLst/>
                <a:gdLst/>
                <a:ahLst/>
                <a:cxnLst>
                  <a:cxn ang="0">
                    <a:pos x="9" y="24"/>
                  </a:cxn>
                  <a:cxn ang="0">
                    <a:pos x="9" y="10"/>
                  </a:cxn>
                  <a:cxn ang="0">
                    <a:pos x="0" y="0"/>
                  </a:cxn>
                  <a:cxn ang="0">
                    <a:pos x="21" y="0"/>
                  </a:cxn>
                  <a:cxn ang="0">
                    <a:pos x="121" y="110"/>
                  </a:cxn>
                  <a:cxn ang="0">
                    <a:pos x="97" y="110"/>
                  </a:cxn>
                  <a:cxn ang="0">
                    <a:pos x="97" y="139"/>
                  </a:cxn>
                  <a:cxn ang="0">
                    <a:pos x="143" y="179"/>
                  </a:cxn>
                  <a:cxn ang="0">
                    <a:pos x="121" y="179"/>
                  </a:cxn>
                  <a:cxn ang="0">
                    <a:pos x="121" y="191"/>
                  </a:cxn>
                  <a:cxn ang="0">
                    <a:pos x="109" y="179"/>
                  </a:cxn>
                  <a:cxn ang="0">
                    <a:pos x="97" y="139"/>
                  </a:cxn>
                  <a:cxn ang="0">
                    <a:pos x="9" y="24"/>
                  </a:cxn>
                </a:cxnLst>
                <a:rect l="0" t="0" r="r" b="b"/>
                <a:pathLst>
                  <a:path w="143" h="191">
                    <a:moveTo>
                      <a:pt x="9" y="24"/>
                    </a:moveTo>
                    <a:lnTo>
                      <a:pt x="9" y="10"/>
                    </a:lnTo>
                    <a:lnTo>
                      <a:pt x="0" y="0"/>
                    </a:lnTo>
                    <a:lnTo>
                      <a:pt x="21" y="0"/>
                    </a:lnTo>
                    <a:lnTo>
                      <a:pt x="121" y="110"/>
                    </a:lnTo>
                    <a:lnTo>
                      <a:pt x="97" y="110"/>
                    </a:lnTo>
                    <a:lnTo>
                      <a:pt x="97" y="139"/>
                    </a:lnTo>
                    <a:lnTo>
                      <a:pt x="143" y="179"/>
                    </a:lnTo>
                    <a:lnTo>
                      <a:pt x="121" y="179"/>
                    </a:lnTo>
                    <a:lnTo>
                      <a:pt x="121" y="191"/>
                    </a:lnTo>
                    <a:lnTo>
                      <a:pt x="109" y="179"/>
                    </a:lnTo>
                    <a:lnTo>
                      <a:pt x="97" y="139"/>
                    </a:lnTo>
                    <a:lnTo>
                      <a:pt x="9" y="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3" name="Freeform 385">
                <a:extLst>
                  <a:ext uri="{FF2B5EF4-FFF2-40B4-BE49-F238E27FC236}">
                    <a16:creationId xmlns:a16="http://schemas.microsoft.com/office/drawing/2014/main" id="{0405899B-4AA1-4B25-BCE2-B57A939C7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99792" y="3538350"/>
                <a:ext cx="59898" cy="47647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25" y="0"/>
                  </a:cxn>
                  <a:cxn ang="0">
                    <a:pos x="44" y="0"/>
                  </a:cxn>
                  <a:cxn ang="0">
                    <a:pos x="44" y="25"/>
                  </a:cxn>
                  <a:cxn ang="0">
                    <a:pos x="25" y="35"/>
                  </a:cxn>
                  <a:cxn ang="0">
                    <a:pos x="9" y="35"/>
                  </a:cxn>
                  <a:cxn ang="0">
                    <a:pos x="0" y="11"/>
                  </a:cxn>
                </a:cxnLst>
                <a:rect l="0" t="0" r="r" b="b"/>
                <a:pathLst>
                  <a:path w="44" h="35">
                    <a:moveTo>
                      <a:pt x="0" y="11"/>
                    </a:moveTo>
                    <a:lnTo>
                      <a:pt x="25" y="0"/>
                    </a:lnTo>
                    <a:lnTo>
                      <a:pt x="44" y="0"/>
                    </a:lnTo>
                    <a:lnTo>
                      <a:pt x="44" y="25"/>
                    </a:lnTo>
                    <a:lnTo>
                      <a:pt x="25" y="35"/>
                    </a:lnTo>
                    <a:lnTo>
                      <a:pt x="9" y="35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4" name="Freeform 387">
                <a:extLst>
                  <a:ext uri="{FF2B5EF4-FFF2-40B4-BE49-F238E27FC236}">
                    <a16:creationId xmlns:a16="http://schemas.microsoft.com/office/drawing/2014/main" id="{CE9365F8-1256-4FE5-BCEF-FD8F0366F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7975" y="3360015"/>
                <a:ext cx="34034" cy="102100"/>
              </a:xfrm>
              <a:custGeom>
                <a:avLst/>
                <a:gdLst/>
                <a:ahLst/>
                <a:cxnLst>
                  <a:cxn ang="0">
                    <a:pos x="0" y="39"/>
                  </a:cxn>
                  <a:cxn ang="0">
                    <a:pos x="14" y="10"/>
                  </a:cxn>
                  <a:cxn ang="0">
                    <a:pos x="25" y="0"/>
                  </a:cxn>
                  <a:cxn ang="0">
                    <a:pos x="25" y="75"/>
                  </a:cxn>
                  <a:cxn ang="0">
                    <a:pos x="14" y="64"/>
                  </a:cxn>
                  <a:cxn ang="0">
                    <a:pos x="0" y="39"/>
                  </a:cxn>
                </a:cxnLst>
                <a:rect l="0" t="0" r="r" b="b"/>
                <a:pathLst>
                  <a:path w="25" h="75">
                    <a:moveTo>
                      <a:pt x="0" y="39"/>
                    </a:moveTo>
                    <a:lnTo>
                      <a:pt x="14" y="10"/>
                    </a:lnTo>
                    <a:lnTo>
                      <a:pt x="25" y="0"/>
                    </a:lnTo>
                    <a:lnTo>
                      <a:pt x="25" y="75"/>
                    </a:lnTo>
                    <a:lnTo>
                      <a:pt x="14" y="64"/>
                    </a:lnTo>
                    <a:lnTo>
                      <a:pt x="0" y="3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5" name="Freeform 391">
                <a:extLst>
                  <a:ext uri="{FF2B5EF4-FFF2-40B4-BE49-F238E27FC236}">
                    <a16:creationId xmlns:a16="http://schemas.microsoft.com/office/drawing/2014/main" id="{92F76D37-3E98-427C-95E8-2E7506BBE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6258" y="3064604"/>
                <a:ext cx="61260" cy="49008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12" y="0"/>
                  </a:cxn>
                  <a:cxn ang="0">
                    <a:pos x="24" y="11"/>
                  </a:cxn>
                  <a:cxn ang="0">
                    <a:pos x="24" y="0"/>
                  </a:cxn>
                  <a:cxn ang="0">
                    <a:pos x="35" y="0"/>
                  </a:cxn>
                  <a:cxn ang="0">
                    <a:pos x="45" y="11"/>
                  </a:cxn>
                  <a:cxn ang="0">
                    <a:pos x="35" y="24"/>
                  </a:cxn>
                  <a:cxn ang="0">
                    <a:pos x="24" y="11"/>
                  </a:cxn>
                  <a:cxn ang="0">
                    <a:pos x="24" y="24"/>
                  </a:cxn>
                  <a:cxn ang="0">
                    <a:pos x="24" y="36"/>
                  </a:cxn>
                  <a:cxn ang="0">
                    <a:pos x="0" y="24"/>
                  </a:cxn>
                </a:cxnLst>
                <a:rect l="0" t="0" r="r" b="b"/>
                <a:pathLst>
                  <a:path w="45" h="36">
                    <a:moveTo>
                      <a:pt x="0" y="24"/>
                    </a:moveTo>
                    <a:lnTo>
                      <a:pt x="12" y="0"/>
                    </a:lnTo>
                    <a:lnTo>
                      <a:pt x="24" y="11"/>
                    </a:lnTo>
                    <a:lnTo>
                      <a:pt x="24" y="0"/>
                    </a:lnTo>
                    <a:lnTo>
                      <a:pt x="35" y="0"/>
                    </a:lnTo>
                    <a:lnTo>
                      <a:pt x="45" y="11"/>
                    </a:lnTo>
                    <a:lnTo>
                      <a:pt x="35" y="24"/>
                    </a:lnTo>
                    <a:lnTo>
                      <a:pt x="24" y="11"/>
                    </a:lnTo>
                    <a:lnTo>
                      <a:pt x="24" y="24"/>
                    </a:lnTo>
                    <a:lnTo>
                      <a:pt x="24" y="36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6" name="Freeform 364">
                <a:extLst>
                  <a:ext uri="{FF2B5EF4-FFF2-40B4-BE49-F238E27FC236}">
                    <a16:creationId xmlns:a16="http://schemas.microsoft.com/office/drawing/2014/main" id="{A07C574D-CBCE-4BCF-8232-E58A1C9AC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7917" y="3587341"/>
                <a:ext cx="123881" cy="178335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5" y="54"/>
                  </a:cxn>
                  <a:cxn ang="0">
                    <a:pos x="0" y="0"/>
                  </a:cxn>
                  <a:cxn ang="0">
                    <a:pos x="36" y="0"/>
                  </a:cxn>
                  <a:cxn ang="0">
                    <a:pos x="36" y="28"/>
                  </a:cxn>
                  <a:cxn ang="0">
                    <a:pos x="45" y="40"/>
                  </a:cxn>
                  <a:cxn ang="0">
                    <a:pos x="36" y="79"/>
                  </a:cxn>
                  <a:cxn ang="0">
                    <a:pos x="45" y="105"/>
                  </a:cxn>
                  <a:cxn ang="0">
                    <a:pos x="45" y="119"/>
                  </a:cxn>
                  <a:cxn ang="0">
                    <a:pos x="54" y="105"/>
                  </a:cxn>
                  <a:cxn ang="0">
                    <a:pos x="76" y="119"/>
                  </a:cxn>
                  <a:cxn ang="0">
                    <a:pos x="91" y="131"/>
                  </a:cxn>
                  <a:cxn ang="0">
                    <a:pos x="67" y="131"/>
                  </a:cxn>
                  <a:cxn ang="0">
                    <a:pos x="54" y="119"/>
                  </a:cxn>
                  <a:cxn ang="0">
                    <a:pos x="54" y="131"/>
                  </a:cxn>
                  <a:cxn ang="0">
                    <a:pos x="36" y="119"/>
                  </a:cxn>
                  <a:cxn ang="0">
                    <a:pos x="24" y="119"/>
                  </a:cxn>
                  <a:cxn ang="0">
                    <a:pos x="24" y="90"/>
                  </a:cxn>
                  <a:cxn ang="0">
                    <a:pos x="0" y="90"/>
                  </a:cxn>
                  <a:cxn ang="0">
                    <a:pos x="0" y="54"/>
                  </a:cxn>
                </a:cxnLst>
                <a:rect l="0" t="0" r="r" b="b"/>
                <a:pathLst>
                  <a:path w="91" h="131">
                    <a:moveTo>
                      <a:pt x="0" y="54"/>
                    </a:moveTo>
                    <a:lnTo>
                      <a:pt x="15" y="54"/>
                    </a:lnTo>
                    <a:lnTo>
                      <a:pt x="0" y="0"/>
                    </a:lnTo>
                    <a:lnTo>
                      <a:pt x="36" y="0"/>
                    </a:lnTo>
                    <a:lnTo>
                      <a:pt x="36" y="28"/>
                    </a:lnTo>
                    <a:lnTo>
                      <a:pt x="45" y="40"/>
                    </a:lnTo>
                    <a:lnTo>
                      <a:pt x="36" y="79"/>
                    </a:lnTo>
                    <a:lnTo>
                      <a:pt x="45" y="105"/>
                    </a:lnTo>
                    <a:lnTo>
                      <a:pt x="45" y="119"/>
                    </a:lnTo>
                    <a:lnTo>
                      <a:pt x="54" y="105"/>
                    </a:lnTo>
                    <a:lnTo>
                      <a:pt x="76" y="119"/>
                    </a:lnTo>
                    <a:lnTo>
                      <a:pt x="91" y="131"/>
                    </a:lnTo>
                    <a:lnTo>
                      <a:pt x="67" y="131"/>
                    </a:lnTo>
                    <a:lnTo>
                      <a:pt x="54" y="119"/>
                    </a:lnTo>
                    <a:lnTo>
                      <a:pt x="54" y="131"/>
                    </a:lnTo>
                    <a:lnTo>
                      <a:pt x="36" y="119"/>
                    </a:lnTo>
                    <a:lnTo>
                      <a:pt x="24" y="119"/>
                    </a:lnTo>
                    <a:lnTo>
                      <a:pt x="24" y="90"/>
                    </a:lnTo>
                    <a:lnTo>
                      <a:pt x="0" y="9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7" name="Freeform 365">
                <a:extLst>
                  <a:ext uri="{FF2B5EF4-FFF2-40B4-BE49-F238E27FC236}">
                    <a16:creationId xmlns:a16="http://schemas.microsoft.com/office/drawing/2014/main" id="{C96F0727-8AAA-4D6E-9A40-884A1D6AA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4354" y="3835103"/>
                <a:ext cx="62621" cy="87125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30" y="14"/>
                  </a:cxn>
                  <a:cxn ang="0">
                    <a:pos x="30" y="0"/>
                  </a:cxn>
                  <a:cxn ang="0">
                    <a:pos x="46" y="14"/>
                  </a:cxn>
                  <a:cxn ang="0">
                    <a:pos x="0" y="64"/>
                  </a:cxn>
                </a:cxnLst>
                <a:rect l="0" t="0" r="r" b="b"/>
                <a:pathLst>
                  <a:path w="46" h="64">
                    <a:moveTo>
                      <a:pt x="0" y="64"/>
                    </a:moveTo>
                    <a:lnTo>
                      <a:pt x="30" y="14"/>
                    </a:lnTo>
                    <a:lnTo>
                      <a:pt x="30" y="0"/>
                    </a:lnTo>
                    <a:lnTo>
                      <a:pt x="46" y="14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8" name="Freeform 366">
                <a:extLst>
                  <a:ext uri="{FF2B5EF4-FFF2-40B4-BE49-F238E27FC236}">
                    <a16:creationId xmlns:a16="http://schemas.microsoft.com/office/drawing/2014/main" id="{C7249CCD-9F76-47BE-8B61-9C7745467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1797" y="3784734"/>
                <a:ext cx="34034" cy="884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" y="0"/>
                  </a:cxn>
                  <a:cxn ang="0">
                    <a:pos x="25" y="10"/>
                  </a:cxn>
                  <a:cxn ang="0">
                    <a:pos x="25" y="36"/>
                  </a:cxn>
                  <a:cxn ang="0">
                    <a:pos x="10" y="36"/>
                  </a:cxn>
                  <a:cxn ang="0">
                    <a:pos x="25" y="50"/>
                  </a:cxn>
                  <a:cxn ang="0">
                    <a:pos x="10" y="65"/>
                  </a:cxn>
                  <a:cxn ang="0">
                    <a:pos x="10" y="36"/>
                  </a:cxn>
                  <a:cxn ang="0">
                    <a:pos x="0" y="36"/>
                  </a:cxn>
                  <a:cxn ang="0">
                    <a:pos x="0" y="24"/>
                  </a:cxn>
                  <a:cxn ang="0">
                    <a:pos x="10" y="24"/>
                  </a:cxn>
                  <a:cxn ang="0">
                    <a:pos x="0" y="0"/>
                  </a:cxn>
                </a:cxnLst>
                <a:rect l="0" t="0" r="r" b="b"/>
                <a:pathLst>
                  <a:path w="25" h="65">
                    <a:moveTo>
                      <a:pt x="0" y="0"/>
                    </a:moveTo>
                    <a:lnTo>
                      <a:pt x="25" y="0"/>
                    </a:lnTo>
                    <a:lnTo>
                      <a:pt x="25" y="10"/>
                    </a:lnTo>
                    <a:lnTo>
                      <a:pt x="25" y="36"/>
                    </a:lnTo>
                    <a:lnTo>
                      <a:pt x="10" y="36"/>
                    </a:lnTo>
                    <a:lnTo>
                      <a:pt x="25" y="50"/>
                    </a:lnTo>
                    <a:lnTo>
                      <a:pt x="10" y="65"/>
                    </a:lnTo>
                    <a:lnTo>
                      <a:pt x="10" y="36"/>
                    </a:lnTo>
                    <a:lnTo>
                      <a:pt x="0" y="36"/>
                    </a:lnTo>
                    <a:lnTo>
                      <a:pt x="0" y="24"/>
                    </a:lnTo>
                    <a:lnTo>
                      <a:pt x="10" y="2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9" name="Freeform 367">
                <a:extLst>
                  <a:ext uri="{FF2B5EF4-FFF2-40B4-BE49-F238E27FC236}">
                    <a16:creationId xmlns:a16="http://schemas.microsoft.com/office/drawing/2014/main" id="{351F4098-A237-4D51-829A-4C04F2E4A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0538" y="3799707"/>
                <a:ext cx="72151" cy="107545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0" y="0"/>
                  </a:cxn>
                  <a:cxn ang="0">
                    <a:pos x="9" y="14"/>
                  </a:cxn>
                  <a:cxn ang="0">
                    <a:pos x="21" y="14"/>
                  </a:cxn>
                  <a:cxn ang="0">
                    <a:pos x="30" y="40"/>
                  </a:cxn>
                  <a:cxn ang="0">
                    <a:pos x="44" y="25"/>
                  </a:cxn>
                  <a:cxn ang="0">
                    <a:pos x="44" y="54"/>
                  </a:cxn>
                  <a:cxn ang="0">
                    <a:pos x="53" y="54"/>
                  </a:cxn>
                  <a:cxn ang="0">
                    <a:pos x="53" y="64"/>
                  </a:cxn>
                  <a:cxn ang="0">
                    <a:pos x="44" y="64"/>
                  </a:cxn>
                  <a:cxn ang="0">
                    <a:pos x="44" y="54"/>
                  </a:cxn>
                  <a:cxn ang="0">
                    <a:pos x="30" y="64"/>
                  </a:cxn>
                  <a:cxn ang="0">
                    <a:pos x="30" y="54"/>
                  </a:cxn>
                  <a:cxn ang="0">
                    <a:pos x="30" y="64"/>
                  </a:cxn>
                  <a:cxn ang="0">
                    <a:pos x="21" y="79"/>
                  </a:cxn>
                  <a:cxn ang="0">
                    <a:pos x="9" y="54"/>
                  </a:cxn>
                  <a:cxn ang="0">
                    <a:pos x="21" y="54"/>
                  </a:cxn>
                  <a:cxn ang="0">
                    <a:pos x="21" y="40"/>
                  </a:cxn>
                  <a:cxn ang="0">
                    <a:pos x="0" y="40"/>
                  </a:cxn>
                </a:cxnLst>
                <a:rect l="0" t="0" r="r" b="b"/>
                <a:pathLst>
                  <a:path w="53" h="79">
                    <a:moveTo>
                      <a:pt x="0" y="40"/>
                    </a:moveTo>
                    <a:lnTo>
                      <a:pt x="0" y="0"/>
                    </a:lnTo>
                    <a:lnTo>
                      <a:pt x="9" y="14"/>
                    </a:lnTo>
                    <a:lnTo>
                      <a:pt x="21" y="14"/>
                    </a:lnTo>
                    <a:lnTo>
                      <a:pt x="30" y="40"/>
                    </a:lnTo>
                    <a:lnTo>
                      <a:pt x="44" y="25"/>
                    </a:lnTo>
                    <a:lnTo>
                      <a:pt x="44" y="54"/>
                    </a:lnTo>
                    <a:lnTo>
                      <a:pt x="53" y="54"/>
                    </a:lnTo>
                    <a:lnTo>
                      <a:pt x="53" y="64"/>
                    </a:lnTo>
                    <a:lnTo>
                      <a:pt x="44" y="64"/>
                    </a:lnTo>
                    <a:lnTo>
                      <a:pt x="44" y="54"/>
                    </a:lnTo>
                    <a:lnTo>
                      <a:pt x="30" y="64"/>
                    </a:lnTo>
                    <a:lnTo>
                      <a:pt x="30" y="54"/>
                    </a:lnTo>
                    <a:lnTo>
                      <a:pt x="30" y="64"/>
                    </a:lnTo>
                    <a:lnTo>
                      <a:pt x="21" y="79"/>
                    </a:lnTo>
                    <a:lnTo>
                      <a:pt x="9" y="54"/>
                    </a:lnTo>
                    <a:lnTo>
                      <a:pt x="21" y="54"/>
                    </a:lnTo>
                    <a:lnTo>
                      <a:pt x="21" y="40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0" name="Freeform 368">
                <a:extLst>
                  <a:ext uri="{FF2B5EF4-FFF2-40B4-BE49-F238E27FC236}">
                    <a16:creationId xmlns:a16="http://schemas.microsoft.com/office/drawing/2014/main" id="{41DAC3AC-4375-40E3-8D8B-2900A287E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1429" y="3873220"/>
                <a:ext cx="121159" cy="137495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0" y="50"/>
                  </a:cxn>
                  <a:cxn ang="0">
                    <a:pos x="21" y="36"/>
                  </a:cxn>
                  <a:cxn ang="0">
                    <a:pos x="36" y="36"/>
                  </a:cxn>
                  <a:cxn ang="0">
                    <a:pos x="36" y="50"/>
                  </a:cxn>
                  <a:cxn ang="0">
                    <a:pos x="45" y="36"/>
                  </a:cxn>
                  <a:cxn ang="0">
                    <a:pos x="45" y="24"/>
                  </a:cxn>
                  <a:cxn ang="0">
                    <a:pos x="57" y="24"/>
                  </a:cxn>
                  <a:cxn ang="0">
                    <a:pos x="67" y="24"/>
                  </a:cxn>
                  <a:cxn ang="0">
                    <a:pos x="57" y="0"/>
                  </a:cxn>
                  <a:cxn ang="0">
                    <a:pos x="76" y="24"/>
                  </a:cxn>
                  <a:cxn ang="0">
                    <a:pos x="89" y="60"/>
                  </a:cxn>
                  <a:cxn ang="0">
                    <a:pos x="76" y="89"/>
                  </a:cxn>
                  <a:cxn ang="0">
                    <a:pos x="67" y="60"/>
                  </a:cxn>
                  <a:cxn ang="0">
                    <a:pos x="67" y="75"/>
                  </a:cxn>
                  <a:cxn ang="0">
                    <a:pos x="67" y="89"/>
                  </a:cxn>
                  <a:cxn ang="0">
                    <a:pos x="67" y="101"/>
                  </a:cxn>
                  <a:cxn ang="0">
                    <a:pos x="36" y="89"/>
                  </a:cxn>
                  <a:cxn ang="0">
                    <a:pos x="45" y="60"/>
                  </a:cxn>
                  <a:cxn ang="0">
                    <a:pos x="36" y="50"/>
                  </a:cxn>
                  <a:cxn ang="0">
                    <a:pos x="12" y="60"/>
                  </a:cxn>
                  <a:cxn ang="0">
                    <a:pos x="12" y="50"/>
                  </a:cxn>
                  <a:cxn ang="0">
                    <a:pos x="0" y="75"/>
                  </a:cxn>
                  <a:cxn ang="0">
                    <a:pos x="0" y="60"/>
                  </a:cxn>
                </a:cxnLst>
                <a:rect l="0" t="0" r="r" b="b"/>
                <a:pathLst>
                  <a:path w="89" h="101">
                    <a:moveTo>
                      <a:pt x="0" y="60"/>
                    </a:moveTo>
                    <a:lnTo>
                      <a:pt x="0" y="50"/>
                    </a:lnTo>
                    <a:lnTo>
                      <a:pt x="21" y="36"/>
                    </a:lnTo>
                    <a:lnTo>
                      <a:pt x="36" y="36"/>
                    </a:lnTo>
                    <a:lnTo>
                      <a:pt x="36" y="50"/>
                    </a:lnTo>
                    <a:lnTo>
                      <a:pt x="45" y="36"/>
                    </a:lnTo>
                    <a:lnTo>
                      <a:pt x="45" y="24"/>
                    </a:lnTo>
                    <a:lnTo>
                      <a:pt x="57" y="24"/>
                    </a:lnTo>
                    <a:lnTo>
                      <a:pt x="67" y="24"/>
                    </a:lnTo>
                    <a:lnTo>
                      <a:pt x="57" y="0"/>
                    </a:lnTo>
                    <a:lnTo>
                      <a:pt x="76" y="24"/>
                    </a:lnTo>
                    <a:lnTo>
                      <a:pt x="89" y="60"/>
                    </a:lnTo>
                    <a:lnTo>
                      <a:pt x="76" y="89"/>
                    </a:lnTo>
                    <a:lnTo>
                      <a:pt x="67" y="60"/>
                    </a:lnTo>
                    <a:lnTo>
                      <a:pt x="67" y="75"/>
                    </a:lnTo>
                    <a:lnTo>
                      <a:pt x="67" y="89"/>
                    </a:lnTo>
                    <a:lnTo>
                      <a:pt x="67" y="101"/>
                    </a:lnTo>
                    <a:lnTo>
                      <a:pt x="36" y="89"/>
                    </a:lnTo>
                    <a:lnTo>
                      <a:pt x="45" y="60"/>
                    </a:lnTo>
                    <a:lnTo>
                      <a:pt x="36" y="50"/>
                    </a:lnTo>
                    <a:lnTo>
                      <a:pt x="12" y="60"/>
                    </a:lnTo>
                    <a:lnTo>
                      <a:pt x="12" y="50"/>
                    </a:lnTo>
                    <a:lnTo>
                      <a:pt x="0" y="75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1" name="Freeform 74">
                <a:extLst>
                  <a:ext uri="{FF2B5EF4-FFF2-40B4-BE49-F238E27FC236}">
                    <a16:creationId xmlns:a16="http://schemas.microsoft.com/office/drawing/2014/main" id="{8DCCC657-9D33-4D4E-B7AB-983010E046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6637" y="2819557"/>
                <a:ext cx="115713" cy="10073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39" y="14"/>
                  </a:cxn>
                  <a:cxn ang="0">
                    <a:pos x="30" y="14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4"/>
                  </a:cxn>
                  <a:cxn ang="0">
                    <a:pos x="8" y="24"/>
                  </a:cxn>
                  <a:cxn ang="0">
                    <a:pos x="8" y="38"/>
                  </a:cxn>
                  <a:cxn ang="0">
                    <a:pos x="17" y="38"/>
                  </a:cxn>
                  <a:cxn ang="0">
                    <a:pos x="30" y="59"/>
                  </a:cxn>
                  <a:cxn ang="0">
                    <a:pos x="54" y="48"/>
                  </a:cxn>
                  <a:cxn ang="0">
                    <a:pos x="54" y="59"/>
                  </a:cxn>
                  <a:cxn ang="0">
                    <a:pos x="75" y="74"/>
                  </a:cxn>
                  <a:cxn ang="0">
                    <a:pos x="64" y="59"/>
                  </a:cxn>
                  <a:cxn ang="0">
                    <a:pos x="75" y="59"/>
                  </a:cxn>
                  <a:cxn ang="0">
                    <a:pos x="75" y="38"/>
                  </a:cxn>
                  <a:cxn ang="0">
                    <a:pos x="85" y="24"/>
                  </a:cxn>
                  <a:cxn ang="0">
                    <a:pos x="64" y="14"/>
                  </a:cxn>
                  <a:cxn ang="0">
                    <a:pos x="54" y="0"/>
                  </a:cxn>
                </a:cxnLst>
                <a:rect l="0" t="0" r="r" b="b"/>
                <a:pathLst>
                  <a:path w="85" h="74">
                    <a:moveTo>
                      <a:pt x="54" y="0"/>
                    </a:moveTo>
                    <a:lnTo>
                      <a:pt x="39" y="14"/>
                    </a:lnTo>
                    <a:lnTo>
                      <a:pt x="30" y="14"/>
                    </a:lnTo>
                    <a:lnTo>
                      <a:pt x="17" y="0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8" y="24"/>
                    </a:lnTo>
                    <a:lnTo>
                      <a:pt x="8" y="38"/>
                    </a:lnTo>
                    <a:lnTo>
                      <a:pt x="17" y="38"/>
                    </a:lnTo>
                    <a:lnTo>
                      <a:pt x="30" y="59"/>
                    </a:lnTo>
                    <a:lnTo>
                      <a:pt x="54" y="48"/>
                    </a:lnTo>
                    <a:lnTo>
                      <a:pt x="54" y="59"/>
                    </a:lnTo>
                    <a:lnTo>
                      <a:pt x="75" y="74"/>
                    </a:lnTo>
                    <a:lnTo>
                      <a:pt x="64" y="59"/>
                    </a:lnTo>
                    <a:lnTo>
                      <a:pt x="75" y="59"/>
                    </a:lnTo>
                    <a:lnTo>
                      <a:pt x="75" y="38"/>
                    </a:lnTo>
                    <a:lnTo>
                      <a:pt x="85" y="24"/>
                    </a:lnTo>
                    <a:lnTo>
                      <a:pt x="64" y="14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2" name="Freeform 80">
                <a:extLst>
                  <a:ext uri="{FF2B5EF4-FFF2-40B4-BE49-F238E27FC236}">
                    <a16:creationId xmlns:a16="http://schemas.microsoft.com/office/drawing/2014/main" id="{0B8C7167-05D3-4D91-9AB7-3DA8F8C9F1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2584" y="2835893"/>
                <a:ext cx="185142" cy="138856"/>
              </a:xfrm>
              <a:custGeom>
                <a:avLst/>
                <a:gdLst/>
                <a:ahLst/>
                <a:cxnLst>
                  <a:cxn ang="0">
                    <a:pos x="24" y="102"/>
                  </a:cxn>
                  <a:cxn ang="0">
                    <a:pos x="14" y="102"/>
                  </a:cxn>
                  <a:cxn ang="0">
                    <a:pos x="24" y="76"/>
                  </a:cxn>
                  <a:cxn ang="0">
                    <a:pos x="14" y="47"/>
                  </a:cxn>
                  <a:cxn ang="0">
                    <a:pos x="0" y="36"/>
                  </a:cxn>
                  <a:cxn ang="0">
                    <a:pos x="24" y="36"/>
                  </a:cxn>
                  <a:cxn ang="0">
                    <a:pos x="24" y="25"/>
                  </a:cxn>
                  <a:cxn ang="0">
                    <a:pos x="24" y="11"/>
                  </a:cxn>
                  <a:cxn ang="0">
                    <a:pos x="46" y="0"/>
                  </a:cxn>
                  <a:cxn ang="0">
                    <a:pos x="46" y="25"/>
                  </a:cxn>
                  <a:cxn ang="0">
                    <a:pos x="58" y="25"/>
                  </a:cxn>
                  <a:cxn ang="0">
                    <a:pos x="46" y="25"/>
                  </a:cxn>
                  <a:cxn ang="0">
                    <a:pos x="36" y="25"/>
                  </a:cxn>
                  <a:cxn ang="0">
                    <a:pos x="36" y="36"/>
                  </a:cxn>
                  <a:cxn ang="0">
                    <a:pos x="68" y="36"/>
                  </a:cxn>
                  <a:cxn ang="0">
                    <a:pos x="79" y="47"/>
                  </a:cxn>
                  <a:cxn ang="0">
                    <a:pos x="114" y="36"/>
                  </a:cxn>
                  <a:cxn ang="0">
                    <a:pos x="114" y="47"/>
                  </a:cxn>
                  <a:cxn ang="0">
                    <a:pos x="123" y="61"/>
                  </a:cxn>
                  <a:cxn ang="0">
                    <a:pos x="136" y="61"/>
                  </a:cxn>
                  <a:cxn ang="0">
                    <a:pos x="136" y="90"/>
                  </a:cxn>
                  <a:cxn ang="0">
                    <a:pos x="114" y="90"/>
                  </a:cxn>
                  <a:cxn ang="0">
                    <a:pos x="92" y="102"/>
                  </a:cxn>
                  <a:cxn ang="0">
                    <a:pos x="79" y="76"/>
                  </a:cxn>
                  <a:cxn ang="0">
                    <a:pos x="68" y="61"/>
                  </a:cxn>
                  <a:cxn ang="0">
                    <a:pos x="58" y="90"/>
                  </a:cxn>
                  <a:cxn ang="0">
                    <a:pos x="46" y="90"/>
                  </a:cxn>
                  <a:cxn ang="0">
                    <a:pos x="24" y="102"/>
                  </a:cxn>
                </a:cxnLst>
                <a:rect l="0" t="0" r="r" b="b"/>
                <a:pathLst>
                  <a:path w="136" h="102">
                    <a:moveTo>
                      <a:pt x="24" y="102"/>
                    </a:moveTo>
                    <a:lnTo>
                      <a:pt x="14" y="102"/>
                    </a:lnTo>
                    <a:lnTo>
                      <a:pt x="24" y="76"/>
                    </a:lnTo>
                    <a:lnTo>
                      <a:pt x="14" y="47"/>
                    </a:lnTo>
                    <a:lnTo>
                      <a:pt x="0" y="36"/>
                    </a:lnTo>
                    <a:lnTo>
                      <a:pt x="24" y="36"/>
                    </a:lnTo>
                    <a:lnTo>
                      <a:pt x="24" y="25"/>
                    </a:lnTo>
                    <a:lnTo>
                      <a:pt x="24" y="11"/>
                    </a:lnTo>
                    <a:lnTo>
                      <a:pt x="46" y="0"/>
                    </a:lnTo>
                    <a:lnTo>
                      <a:pt x="46" y="25"/>
                    </a:lnTo>
                    <a:lnTo>
                      <a:pt x="58" y="25"/>
                    </a:lnTo>
                    <a:lnTo>
                      <a:pt x="46" y="25"/>
                    </a:lnTo>
                    <a:lnTo>
                      <a:pt x="36" y="25"/>
                    </a:lnTo>
                    <a:lnTo>
                      <a:pt x="36" y="36"/>
                    </a:lnTo>
                    <a:lnTo>
                      <a:pt x="68" y="36"/>
                    </a:lnTo>
                    <a:lnTo>
                      <a:pt x="79" y="47"/>
                    </a:lnTo>
                    <a:lnTo>
                      <a:pt x="114" y="36"/>
                    </a:lnTo>
                    <a:lnTo>
                      <a:pt x="114" y="47"/>
                    </a:lnTo>
                    <a:lnTo>
                      <a:pt x="123" y="61"/>
                    </a:lnTo>
                    <a:lnTo>
                      <a:pt x="136" y="61"/>
                    </a:lnTo>
                    <a:lnTo>
                      <a:pt x="136" y="90"/>
                    </a:lnTo>
                    <a:lnTo>
                      <a:pt x="114" y="90"/>
                    </a:lnTo>
                    <a:lnTo>
                      <a:pt x="92" y="102"/>
                    </a:lnTo>
                    <a:lnTo>
                      <a:pt x="79" y="76"/>
                    </a:lnTo>
                    <a:lnTo>
                      <a:pt x="68" y="61"/>
                    </a:lnTo>
                    <a:lnTo>
                      <a:pt x="58" y="90"/>
                    </a:lnTo>
                    <a:lnTo>
                      <a:pt x="46" y="90"/>
                    </a:lnTo>
                    <a:lnTo>
                      <a:pt x="24" y="1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3" name="Freeform 84">
                <a:extLst>
                  <a:ext uri="{FF2B5EF4-FFF2-40B4-BE49-F238E27FC236}">
                    <a16:creationId xmlns:a16="http://schemas.microsoft.com/office/drawing/2014/main" id="{479835C1-2921-4E95-8C8E-6FD4D0FE4D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8637" y="2777356"/>
                <a:ext cx="341696" cy="246401"/>
              </a:xfrm>
              <a:custGeom>
                <a:avLst/>
                <a:gdLst/>
                <a:ahLst/>
                <a:cxnLst>
                  <a:cxn ang="0">
                    <a:pos x="67" y="43"/>
                  </a:cxn>
                  <a:cxn ang="0">
                    <a:pos x="51" y="43"/>
                  </a:cxn>
                  <a:cxn ang="0">
                    <a:pos x="20" y="14"/>
                  </a:cxn>
                  <a:cxn ang="0">
                    <a:pos x="11" y="14"/>
                  </a:cxn>
                  <a:cxn ang="0">
                    <a:pos x="0" y="28"/>
                  </a:cxn>
                  <a:cxn ang="0">
                    <a:pos x="11" y="43"/>
                  </a:cxn>
                  <a:cxn ang="0">
                    <a:pos x="11" y="28"/>
                  </a:cxn>
                  <a:cxn ang="0">
                    <a:pos x="20" y="28"/>
                  </a:cxn>
                  <a:cxn ang="0">
                    <a:pos x="30" y="43"/>
                  </a:cxn>
                  <a:cxn ang="0">
                    <a:pos x="30" y="54"/>
                  </a:cxn>
                  <a:cxn ang="0">
                    <a:pos x="11" y="54"/>
                  </a:cxn>
                  <a:cxn ang="0">
                    <a:pos x="11" y="68"/>
                  </a:cxn>
                  <a:cxn ang="0">
                    <a:pos x="20" y="68"/>
                  </a:cxn>
                  <a:cxn ang="0">
                    <a:pos x="30" y="90"/>
                  </a:cxn>
                  <a:cxn ang="0">
                    <a:pos x="42" y="133"/>
                  </a:cxn>
                  <a:cxn ang="0">
                    <a:pos x="67" y="119"/>
                  </a:cxn>
                  <a:cxn ang="0">
                    <a:pos x="88" y="104"/>
                  </a:cxn>
                  <a:cxn ang="0">
                    <a:pos x="174" y="155"/>
                  </a:cxn>
                  <a:cxn ang="0">
                    <a:pos x="174" y="169"/>
                  </a:cxn>
                  <a:cxn ang="0">
                    <a:pos x="199" y="181"/>
                  </a:cxn>
                  <a:cxn ang="0">
                    <a:pos x="207" y="169"/>
                  </a:cxn>
                  <a:cxn ang="0">
                    <a:pos x="229" y="155"/>
                  </a:cxn>
                  <a:cxn ang="0">
                    <a:pos x="229" y="133"/>
                  </a:cxn>
                  <a:cxn ang="0">
                    <a:pos x="241" y="133"/>
                  </a:cxn>
                  <a:cxn ang="0">
                    <a:pos x="251" y="133"/>
                  </a:cxn>
                  <a:cxn ang="0">
                    <a:pos x="251" y="119"/>
                  </a:cxn>
                  <a:cxn ang="0">
                    <a:pos x="229" y="104"/>
                  </a:cxn>
                  <a:cxn ang="0">
                    <a:pos x="174" y="68"/>
                  </a:cxn>
                  <a:cxn ang="0">
                    <a:pos x="164" y="43"/>
                  </a:cxn>
                  <a:cxn ang="0">
                    <a:pos x="131" y="43"/>
                  </a:cxn>
                  <a:cxn ang="0">
                    <a:pos x="119" y="14"/>
                  </a:cxn>
                  <a:cxn ang="0">
                    <a:pos x="97" y="0"/>
                  </a:cxn>
                  <a:cxn ang="0">
                    <a:pos x="88" y="0"/>
                  </a:cxn>
                  <a:cxn ang="0">
                    <a:pos x="76" y="28"/>
                  </a:cxn>
                  <a:cxn ang="0">
                    <a:pos x="76" y="43"/>
                  </a:cxn>
                  <a:cxn ang="0">
                    <a:pos x="67" y="43"/>
                  </a:cxn>
                </a:cxnLst>
                <a:rect l="0" t="0" r="r" b="b"/>
                <a:pathLst>
                  <a:path w="251" h="181">
                    <a:moveTo>
                      <a:pt x="67" y="43"/>
                    </a:moveTo>
                    <a:lnTo>
                      <a:pt x="51" y="43"/>
                    </a:lnTo>
                    <a:lnTo>
                      <a:pt x="20" y="14"/>
                    </a:lnTo>
                    <a:lnTo>
                      <a:pt x="11" y="14"/>
                    </a:lnTo>
                    <a:lnTo>
                      <a:pt x="0" y="28"/>
                    </a:lnTo>
                    <a:lnTo>
                      <a:pt x="11" y="43"/>
                    </a:lnTo>
                    <a:lnTo>
                      <a:pt x="11" y="28"/>
                    </a:lnTo>
                    <a:lnTo>
                      <a:pt x="20" y="28"/>
                    </a:lnTo>
                    <a:lnTo>
                      <a:pt x="30" y="43"/>
                    </a:lnTo>
                    <a:lnTo>
                      <a:pt x="30" y="54"/>
                    </a:lnTo>
                    <a:lnTo>
                      <a:pt x="11" y="54"/>
                    </a:lnTo>
                    <a:lnTo>
                      <a:pt x="11" y="68"/>
                    </a:lnTo>
                    <a:lnTo>
                      <a:pt x="20" y="68"/>
                    </a:lnTo>
                    <a:lnTo>
                      <a:pt x="30" y="90"/>
                    </a:lnTo>
                    <a:lnTo>
                      <a:pt x="42" y="133"/>
                    </a:lnTo>
                    <a:lnTo>
                      <a:pt x="67" y="119"/>
                    </a:lnTo>
                    <a:lnTo>
                      <a:pt x="88" y="104"/>
                    </a:lnTo>
                    <a:lnTo>
                      <a:pt x="174" y="155"/>
                    </a:lnTo>
                    <a:lnTo>
                      <a:pt x="174" y="169"/>
                    </a:lnTo>
                    <a:lnTo>
                      <a:pt x="199" y="181"/>
                    </a:lnTo>
                    <a:lnTo>
                      <a:pt x="207" y="169"/>
                    </a:lnTo>
                    <a:lnTo>
                      <a:pt x="229" y="155"/>
                    </a:lnTo>
                    <a:lnTo>
                      <a:pt x="229" y="133"/>
                    </a:lnTo>
                    <a:lnTo>
                      <a:pt x="241" y="133"/>
                    </a:lnTo>
                    <a:lnTo>
                      <a:pt x="251" y="133"/>
                    </a:lnTo>
                    <a:lnTo>
                      <a:pt x="251" y="119"/>
                    </a:lnTo>
                    <a:lnTo>
                      <a:pt x="229" y="104"/>
                    </a:lnTo>
                    <a:lnTo>
                      <a:pt x="174" y="68"/>
                    </a:lnTo>
                    <a:lnTo>
                      <a:pt x="164" y="43"/>
                    </a:lnTo>
                    <a:lnTo>
                      <a:pt x="131" y="43"/>
                    </a:lnTo>
                    <a:lnTo>
                      <a:pt x="119" y="14"/>
                    </a:lnTo>
                    <a:lnTo>
                      <a:pt x="97" y="0"/>
                    </a:lnTo>
                    <a:lnTo>
                      <a:pt x="88" y="0"/>
                    </a:lnTo>
                    <a:lnTo>
                      <a:pt x="76" y="28"/>
                    </a:lnTo>
                    <a:lnTo>
                      <a:pt x="76" y="43"/>
                    </a:lnTo>
                    <a:lnTo>
                      <a:pt x="67" y="4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4" name="Freeform 116">
                <a:extLst>
                  <a:ext uri="{FF2B5EF4-FFF2-40B4-BE49-F238E27FC236}">
                    <a16:creationId xmlns:a16="http://schemas.microsoft.com/office/drawing/2014/main" id="{637C04E6-44D6-45F7-B532-3CC9F5D7BD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96866" y="3270158"/>
                <a:ext cx="223260" cy="616683"/>
              </a:xfrm>
              <a:custGeom>
                <a:avLst/>
                <a:gdLst/>
                <a:ahLst/>
                <a:cxnLst>
                  <a:cxn ang="0">
                    <a:pos x="151" y="387"/>
                  </a:cxn>
                  <a:cxn ang="0">
                    <a:pos x="130" y="453"/>
                  </a:cxn>
                  <a:cxn ang="0">
                    <a:pos x="143" y="413"/>
                  </a:cxn>
                  <a:cxn ang="0">
                    <a:pos x="130" y="387"/>
                  </a:cxn>
                  <a:cxn ang="0">
                    <a:pos x="143" y="376"/>
                  </a:cxn>
                  <a:cxn ang="0">
                    <a:pos x="109" y="286"/>
                  </a:cxn>
                  <a:cxn ang="0">
                    <a:pos x="96" y="272"/>
                  </a:cxn>
                  <a:cxn ang="0">
                    <a:pos x="76" y="297"/>
                  </a:cxn>
                  <a:cxn ang="0">
                    <a:pos x="42" y="286"/>
                  </a:cxn>
                  <a:cxn ang="0">
                    <a:pos x="54" y="261"/>
                  </a:cxn>
                  <a:cxn ang="0">
                    <a:pos x="42" y="220"/>
                  </a:cxn>
                  <a:cxn ang="0">
                    <a:pos x="33" y="220"/>
                  </a:cxn>
                  <a:cxn ang="0">
                    <a:pos x="21" y="196"/>
                  </a:cxn>
                  <a:cxn ang="0">
                    <a:pos x="0" y="167"/>
                  </a:cxn>
                  <a:cxn ang="0">
                    <a:pos x="0" y="141"/>
                  </a:cxn>
                  <a:cxn ang="0">
                    <a:pos x="12" y="141"/>
                  </a:cxn>
                  <a:cxn ang="0">
                    <a:pos x="12" y="105"/>
                  </a:cxn>
                  <a:cxn ang="0">
                    <a:pos x="21" y="105"/>
                  </a:cxn>
                  <a:cxn ang="0">
                    <a:pos x="33" y="40"/>
                  </a:cxn>
                  <a:cxn ang="0">
                    <a:pos x="54" y="14"/>
                  </a:cxn>
                  <a:cxn ang="0">
                    <a:pos x="67" y="14"/>
                  </a:cxn>
                  <a:cxn ang="0">
                    <a:pos x="67" y="0"/>
                  </a:cxn>
                  <a:cxn ang="0">
                    <a:pos x="87" y="0"/>
                  </a:cxn>
                  <a:cxn ang="0">
                    <a:pos x="96" y="28"/>
                  </a:cxn>
                  <a:cxn ang="0">
                    <a:pos x="87" y="105"/>
                  </a:cxn>
                  <a:cxn ang="0">
                    <a:pos x="109" y="94"/>
                  </a:cxn>
                  <a:cxn ang="0">
                    <a:pos x="109" y="119"/>
                  </a:cxn>
                  <a:cxn ang="0">
                    <a:pos x="121" y="119"/>
                  </a:cxn>
                  <a:cxn ang="0">
                    <a:pos x="121" y="141"/>
                  </a:cxn>
                  <a:cxn ang="0">
                    <a:pos x="143" y="155"/>
                  </a:cxn>
                  <a:cxn ang="0">
                    <a:pos x="164" y="155"/>
                  </a:cxn>
                  <a:cxn ang="0">
                    <a:pos x="143" y="184"/>
                  </a:cxn>
                  <a:cxn ang="0">
                    <a:pos x="109" y="206"/>
                  </a:cxn>
                  <a:cxn ang="0">
                    <a:pos x="109" y="232"/>
                  </a:cxn>
                  <a:cxn ang="0">
                    <a:pos x="130" y="286"/>
                  </a:cxn>
                  <a:cxn ang="0">
                    <a:pos x="121" y="322"/>
                  </a:cxn>
                  <a:cxn ang="0">
                    <a:pos x="143" y="337"/>
                  </a:cxn>
                  <a:cxn ang="0">
                    <a:pos x="151" y="387"/>
                  </a:cxn>
                </a:cxnLst>
                <a:rect l="0" t="0" r="r" b="b"/>
                <a:pathLst>
                  <a:path w="164" h="453">
                    <a:moveTo>
                      <a:pt x="151" y="387"/>
                    </a:moveTo>
                    <a:lnTo>
                      <a:pt x="130" y="453"/>
                    </a:lnTo>
                    <a:lnTo>
                      <a:pt x="143" y="413"/>
                    </a:lnTo>
                    <a:lnTo>
                      <a:pt x="130" y="387"/>
                    </a:lnTo>
                    <a:lnTo>
                      <a:pt x="143" y="376"/>
                    </a:lnTo>
                    <a:lnTo>
                      <a:pt x="109" y="286"/>
                    </a:lnTo>
                    <a:lnTo>
                      <a:pt x="96" y="272"/>
                    </a:lnTo>
                    <a:lnTo>
                      <a:pt x="76" y="297"/>
                    </a:lnTo>
                    <a:lnTo>
                      <a:pt x="42" y="286"/>
                    </a:lnTo>
                    <a:lnTo>
                      <a:pt x="54" y="261"/>
                    </a:lnTo>
                    <a:lnTo>
                      <a:pt x="42" y="220"/>
                    </a:lnTo>
                    <a:lnTo>
                      <a:pt x="33" y="220"/>
                    </a:lnTo>
                    <a:lnTo>
                      <a:pt x="21" y="196"/>
                    </a:lnTo>
                    <a:lnTo>
                      <a:pt x="0" y="167"/>
                    </a:lnTo>
                    <a:lnTo>
                      <a:pt x="0" y="141"/>
                    </a:lnTo>
                    <a:lnTo>
                      <a:pt x="12" y="141"/>
                    </a:lnTo>
                    <a:lnTo>
                      <a:pt x="12" y="105"/>
                    </a:lnTo>
                    <a:lnTo>
                      <a:pt x="21" y="105"/>
                    </a:lnTo>
                    <a:lnTo>
                      <a:pt x="33" y="40"/>
                    </a:lnTo>
                    <a:lnTo>
                      <a:pt x="54" y="14"/>
                    </a:lnTo>
                    <a:lnTo>
                      <a:pt x="67" y="14"/>
                    </a:lnTo>
                    <a:lnTo>
                      <a:pt x="67" y="0"/>
                    </a:lnTo>
                    <a:lnTo>
                      <a:pt x="87" y="0"/>
                    </a:lnTo>
                    <a:lnTo>
                      <a:pt x="96" y="28"/>
                    </a:lnTo>
                    <a:lnTo>
                      <a:pt x="87" y="105"/>
                    </a:lnTo>
                    <a:lnTo>
                      <a:pt x="109" y="94"/>
                    </a:lnTo>
                    <a:lnTo>
                      <a:pt x="109" y="119"/>
                    </a:lnTo>
                    <a:lnTo>
                      <a:pt x="121" y="119"/>
                    </a:lnTo>
                    <a:lnTo>
                      <a:pt x="121" y="141"/>
                    </a:lnTo>
                    <a:lnTo>
                      <a:pt x="143" y="155"/>
                    </a:lnTo>
                    <a:lnTo>
                      <a:pt x="164" y="155"/>
                    </a:lnTo>
                    <a:lnTo>
                      <a:pt x="143" y="184"/>
                    </a:lnTo>
                    <a:lnTo>
                      <a:pt x="109" y="206"/>
                    </a:lnTo>
                    <a:lnTo>
                      <a:pt x="109" y="232"/>
                    </a:lnTo>
                    <a:lnTo>
                      <a:pt x="130" y="286"/>
                    </a:lnTo>
                    <a:lnTo>
                      <a:pt x="121" y="322"/>
                    </a:lnTo>
                    <a:lnTo>
                      <a:pt x="143" y="337"/>
                    </a:lnTo>
                    <a:lnTo>
                      <a:pt x="151" y="38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5" name="Freeform 118">
                <a:extLst>
                  <a:ext uri="{FF2B5EF4-FFF2-40B4-BE49-F238E27FC236}">
                    <a16:creationId xmlns:a16="http://schemas.microsoft.com/office/drawing/2014/main" id="{68706810-DD0D-4380-A49C-D122049FB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613" y="3524727"/>
                <a:ext cx="194671" cy="485996"/>
              </a:xfrm>
              <a:custGeom>
                <a:avLst/>
                <a:gdLst/>
                <a:ahLst/>
                <a:cxnLst>
                  <a:cxn ang="0">
                    <a:pos x="63" y="331"/>
                  </a:cxn>
                  <a:cxn ang="0">
                    <a:pos x="63" y="345"/>
                  </a:cxn>
                  <a:cxn ang="0">
                    <a:pos x="33" y="292"/>
                  </a:cxn>
                  <a:cxn ang="0">
                    <a:pos x="33" y="306"/>
                  </a:cxn>
                  <a:cxn ang="0">
                    <a:pos x="21" y="280"/>
                  </a:cxn>
                  <a:cxn ang="0">
                    <a:pos x="21" y="266"/>
                  </a:cxn>
                  <a:cxn ang="0">
                    <a:pos x="42" y="201"/>
                  </a:cxn>
                  <a:cxn ang="0">
                    <a:pos x="33" y="151"/>
                  </a:cxn>
                  <a:cxn ang="0">
                    <a:pos x="12" y="136"/>
                  </a:cxn>
                  <a:cxn ang="0">
                    <a:pos x="21" y="100"/>
                  </a:cxn>
                  <a:cxn ang="0">
                    <a:pos x="0" y="46"/>
                  </a:cxn>
                  <a:cxn ang="0">
                    <a:pos x="0" y="21"/>
                  </a:cxn>
                  <a:cxn ang="0">
                    <a:pos x="33" y="0"/>
                  </a:cxn>
                  <a:cxn ang="0">
                    <a:pos x="42" y="10"/>
                  </a:cxn>
                  <a:cxn ang="0">
                    <a:pos x="54" y="21"/>
                  </a:cxn>
                  <a:cxn ang="0">
                    <a:pos x="54" y="60"/>
                  </a:cxn>
                  <a:cxn ang="0">
                    <a:pos x="79" y="46"/>
                  </a:cxn>
                  <a:cxn ang="0">
                    <a:pos x="88" y="60"/>
                  </a:cxn>
                  <a:cxn ang="0">
                    <a:pos x="97" y="46"/>
                  </a:cxn>
                  <a:cxn ang="0">
                    <a:pos x="118" y="75"/>
                  </a:cxn>
                  <a:cxn ang="0">
                    <a:pos x="130" y="100"/>
                  </a:cxn>
                  <a:cxn ang="0">
                    <a:pos x="143" y="125"/>
                  </a:cxn>
                  <a:cxn ang="0">
                    <a:pos x="143" y="151"/>
                  </a:cxn>
                  <a:cxn ang="0">
                    <a:pos x="97" y="151"/>
                  </a:cxn>
                  <a:cxn ang="0">
                    <a:pos x="88" y="175"/>
                  </a:cxn>
                  <a:cxn ang="0">
                    <a:pos x="97" y="201"/>
                  </a:cxn>
                  <a:cxn ang="0">
                    <a:pos x="88" y="191"/>
                  </a:cxn>
                  <a:cxn ang="0">
                    <a:pos x="63" y="191"/>
                  </a:cxn>
                  <a:cxn ang="0">
                    <a:pos x="63" y="175"/>
                  </a:cxn>
                  <a:cxn ang="0">
                    <a:pos x="42" y="175"/>
                  </a:cxn>
                  <a:cxn ang="0">
                    <a:pos x="54" y="201"/>
                  </a:cxn>
                  <a:cxn ang="0">
                    <a:pos x="42" y="241"/>
                  </a:cxn>
                  <a:cxn ang="0">
                    <a:pos x="42" y="266"/>
                  </a:cxn>
                  <a:cxn ang="0">
                    <a:pos x="54" y="266"/>
                  </a:cxn>
                  <a:cxn ang="0">
                    <a:pos x="63" y="316"/>
                  </a:cxn>
                  <a:cxn ang="0">
                    <a:pos x="88" y="331"/>
                  </a:cxn>
                  <a:cxn ang="0">
                    <a:pos x="97" y="345"/>
                  </a:cxn>
                  <a:cxn ang="0">
                    <a:pos x="88" y="357"/>
                  </a:cxn>
                  <a:cxn ang="0">
                    <a:pos x="79" y="357"/>
                  </a:cxn>
                  <a:cxn ang="0">
                    <a:pos x="79" y="345"/>
                  </a:cxn>
                  <a:cxn ang="0">
                    <a:pos x="63" y="331"/>
                  </a:cxn>
                </a:cxnLst>
                <a:rect l="0" t="0" r="r" b="b"/>
                <a:pathLst>
                  <a:path w="143" h="357">
                    <a:moveTo>
                      <a:pt x="63" y="331"/>
                    </a:moveTo>
                    <a:lnTo>
                      <a:pt x="63" y="345"/>
                    </a:lnTo>
                    <a:lnTo>
                      <a:pt x="33" y="292"/>
                    </a:lnTo>
                    <a:lnTo>
                      <a:pt x="33" y="306"/>
                    </a:lnTo>
                    <a:lnTo>
                      <a:pt x="21" y="280"/>
                    </a:lnTo>
                    <a:lnTo>
                      <a:pt x="21" y="266"/>
                    </a:lnTo>
                    <a:lnTo>
                      <a:pt x="42" y="201"/>
                    </a:lnTo>
                    <a:lnTo>
                      <a:pt x="33" y="151"/>
                    </a:lnTo>
                    <a:lnTo>
                      <a:pt x="12" y="136"/>
                    </a:lnTo>
                    <a:lnTo>
                      <a:pt x="21" y="100"/>
                    </a:lnTo>
                    <a:lnTo>
                      <a:pt x="0" y="46"/>
                    </a:lnTo>
                    <a:lnTo>
                      <a:pt x="0" y="21"/>
                    </a:lnTo>
                    <a:lnTo>
                      <a:pt x="33" y="0"/>
                    </a:lnTo>
                    <a:lnTo>
                      <a:pt x="42" y="10"/>
                    </a:lnTo>
                    <a:lnTo>
                      <a:pt x="54" y="21"/>
                    </a:lnTo>
                    <a:lnTo>
                      <a:pt x="54" y="60"/>
                    </a:lnTo>
                    <a:lnTo>
                      <a:pt x="79" y="46"/>
                    </a:lnTo>
                    <a:lnTo>
                      <a:pt x="88" y="60"/>
                    </a:lnTo>
                    <a:lnTo>
                      <a:pt x="97" y="46"/>
                    </a:lnTo>
                    <a:lnTo>
                      <a:pt x="118" y="75"/>
                    </a:lnTo>
                    <a:lnTo>
                      <a:pt x="130" y="100"/>
                    </a:lnTo>
                    <a:lnTo>
                      <a:pt x="143" y="125"/>
                    </a:lnTo>
                    <a:lnTo>
                      <a:pt x="143" y="151"/>
                    </a:lnTo>
                    <a:lnTo>
                      <a:pt x="97" y="151"/>
                    </a:lnTo>
                    <a:lnTo>
                      <a:pt x="88" y="175"/>
                    </a:lnTo>
                    <a:lnTo>
                      <a:pt x="97" y="201"/>
                    </a:lnTo>
                    <a:lnTo>
                      <a:pt x="88" y="191"/>
                    </a:lnTo>
                    <a:lnTo>
                      <a:pt x="63" y="191"/>
                    </a:lnTo>
                    <a:lnTo>
                      <a:pt x="63" y="175"/>
                    </a:lnTo>
                    <a:lnTo>
                      <a:pt x="42" y="175"/>
                    </a:lnTo>
                    <a:lnTo>
                      <a:pt x="54" y="201"/>
                    </a:lnTo>
                    <a:lnTo>
                      <a:pt x="42" y="241"/>
                    </a:lnTo>
                    <a:lnTo>
                      <a:pt x="42" y="266"/>
                    </a:lnTo>
                    <a:lnTo>
                      <a:pt x="54" y="266"/>
                    </a:lnTo>
                    <a:lnTo>
                      <a:pt x="63" y="316"/>
                    </a:lnTo>
                    <a:lnTo>
                      <a:pt x="88" y="331"/>
                    </a:lnTo>
                    <a:lnTo>
                      <a:pt x="97" y="345"/>
                    </a:lnTo>
                    <a:lnTo>
                      <a:pt x="88" y="357"/>
                    </a:lnTo>
                    <a:lnTo>
                      <a:pt x="79" y="357"/>
                    </a:lnTo>
                    <a:lnTo>
                      <a:pt x="79" y="345"/>
                    </a:lnTo>
                    <a:lnTo>
                      <a:pt x="63" y="33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6" name="Freeform 122">
                <a:extLst>
                  <a:ext uri="{FF2B5EF4-FFF2-40B4-BE49-F238E27FC236}">
                    <a16:creationId xmlns:a16="http://schemas.microsoft.com/office/drawing/2014/main" id="{2B2F54DE-9F54-4212-AB2C-EB6B4B4E8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3738" y="3433518"/>
                <a:ext cx="212368" cy="473743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15" y="11"/>
                  </a:cxn>
                  <a:cxn ang="0">
                    <a:pos x="54" y="0"/>
                  </a:cxn>
                  <a:cxn ang="0">
                    <a:pos x="79" y="11"/>
                  </a:cxn>
                  <a:cxn ang="0">
                    <a:pos x="91" y="21"/>
                  </a:cxn>
                  <a:cxn ang="0">
                    <a:pos x="109" y="36"/>
                  </a:cxn>
                  <a:cxn ang="0">
                    <a:pos x="91" y="47"/>
                  </a:cxn>
                  <a:cxn ang="0">
                    <a:pos x="79" y="76"/>
                  </a:cxn>
                  <a:cxn ang="0">
                    <a:pos x="67" y="102"/>
                  </a:cxn>
                  <a:cxn ang="0">
                    <a:pos x="79" y="112"/>
                  </a:cxn>
                  <a:cxn ang="0">
                    <a:pos x="146" y="192"/>
                  </a:cxn>
                  <a:cxn ang="0">
                    <a:pos x="156" y="232"/>
                  </a:cxn>
                  <a:cxn ang="0">
                    <a:pos x="156" y="282"/>
                  </a:cxn>
                  <a:cxn ang="0">
                    <a:pos x="121" y="308"/>
                  </a:cxn>
                  <a:cxn ang="0">
                    <a:pos x="109" y="308"/>
                  </a:cxn>
                  <a:cxn ang="0">
                    <a:pos x="109" y="333"/>
                  </a:cxn>
                  <a:cxn ang="0">
                    <a:pos x="79" y="348"/>
                  </a:cxn>
                  <a:cxn ang="0">
                    <a:pos x="79" y="323"/>
                  </a:cxn>
                  <a:cxn ang="0">
                    <a:pos x="67" y="308"/>
                  </a:cxn>
                  <a:cxn ang="0">
                    <a:pos x="91" y="294"/>
                  </a:cxn>
                  <a:cxn ang="0">
                    <a:pos x="101" y="282"/>
                  </a:cxn>
                  <a:cxn ang="0">
                    <a:pos x="121" y="258"/>
                  </a:cxn>
                  <a:cxn ang="0">
                    <a:pos x="121" y="203"/>
                  </a:cxn>
                  <a:cxn ang="0">
                    <a:pos x="109" y="177"/>
                  </a:cxn>
                  <a:cxn ang="0">
                    <a:pos x="91" y="152"/>
                  </a:cxn>
                  <a:cxn ang="0">
                    <a:pos x="91" y="141"/>
                  </a:cxn>
                  <a:cxn ang="0">
                    <a:pos x="45" y="86"/>
                  </a:cxn>
                  <a:cxn ang="0">
                    <a:pos x="54" y="76"/>
                  </a:cxn>
                  <a:cxn ang="0">
                    <a:pos x="45" y="66"/>
                  </a:cxn>
                  <a:cxn ang="0">
                    <a:pos x="24" y="47"/>
                  </a:cxn>
                  <a:cxn ang="0">
                    <a:pos x="0" y="11"/>
                  </a:cxn>
                </a:cxnLst>
                <a:rect l="0" t="0" r="r" b="b"/>
                <a:pathLst>
                  <a:path w="156" h="348">
                    <a:moveTo>
                      <a:pt x="0" y="11"/>
                    </a:moveTo>
                    <a:lnTo>
                      <a:pt x="15" y="11"/>
                    </a:lnTo>
                    <a:lnTo>
                      <a:pt x="54" y="0"/>
                    </a:lnTo>
                    <a:lnTo>
                      <a:pt x="79" y="11"/>
                    </a:lnTo>
                    <a:lnTo>
                      <a:pt x="91" y="21"/>
                    </a:lnTo>
                    <a:lnTo>
                      <a:pt x="109" y="36"/>
                    </a:lnTo>
                    <a:lnTo>
                      <a:pt x="91" y="47"/>
                    </a:lnTo>
                    <a:lnTo>
                      <a:pt x="79" y="76"/>
                    </a:lnTo>
                    <a:lnTo>
                      <a:pt x="67" y="102"/>
                    </a:lnTo>
                    <a:lnTo>
                      <a:pt x="79" y="112"/>
                    </a:lnTo>
                    <a:lnTo>
                      <a:pt x="146" y="192"/>
                    </a:lnTo>
                    <a:lnTo>
                      <a:pt x="156" y="232"/>
                    </a:lnTo>
                    <a:lnTo>
                      <a:pt x="156" y="282"/>
                    </a:lnTo>
                    <a:lnTo>
                      <a:pt x="121" y="308"/>
                    </a:lnTo>
                    <a:lnTo>
                      <a:pt x="109" y="308"/>
                    </a:lnTo>
                    <a:lnTo>
                      <a:pt x="109" y="333"/>
                    </a:lnTo>
                    <a:lnTo>
                      <a:pt x="79" y="348"/>
                    </a:lnTo>
                    <a:lnTo>
                      <a:pt x="79" y="323"/>
                    </a:lnTo>
                    <a:lnTo>
                      <a:pt x="67" y="308"/>
                    </a:lnTo>
                    <a:lnTo>
                      <a:pt x="91" y="294"/>
                    </a:lnTo>
                    <a:lnTo>
                      <a:pt x="101" y="282"/>
                    </a:lnTo>
                    <a:lnTo>
                      <a:pt x="121" y="258"/>
                    </a:lnTo>
                    <a:lnTo>
                      <a:pt x="121" y="203"/>
                    </a:lnTo>
                    <a:lnTo>
                      <a:pt x="109" y="177"/>
                    </a:lnTo>
                    <a:lnTo>
                      <a:pt x="91" y="152"/>
                    </a:lnTo>
                    <a:lnTo>
                      <a:pt x="91" y="141"/>
                    </a:lnTo>
                    <a:lnTo>
                      <a:pt x="45" y="86"/>
                    </a:lnTo>
                    <a:lnTo>
                      <a:pt x="54" y="76"/>
                    </a:lnTo>
                    <a:lnTo>
                      <a:pt x="45" y="66"/>
                    </a:lnTo>
                    <a:lnTo>
                      <a:pt x="24" y="47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7" name="Freeform 124">
                <a:extLst>
                  <a:ext uri="{FF2B5EF4-FFF2-40B4-BE49-F238E27FC236}">
                    <a16:creationId xmlns:a16="http://schemas.microsoft.com/office/drawing/2014/main" id="{F608CDFC-BDA7-4393-86D2-57717DA106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133" y="3709868"/>
                <a:ext cx="130688" cy="144301"/>
              </a:xfrm>
              <a:custGeom>
                <a:avLst/>
                <a:gdLst/>
                <a:ahLst/>
                <a:cxnLst>
                  <a:cxn ang="0">
                    <a:pos x="0" y="39"/>
                  </a:cxn>
                  <a:cxn ang="0">
                    <a:pos x="9" y="65"/>
                  </a:cxn>
                  <a:cxn ang="0">
                    <a:pos x="20" y="91"/>
                  </a:cxn>
                  <a:cxn ang="0">
                    <a:pos x="41" y="106"/>
                  </a:cxn>
                  <a:cxn ang="0">
                    <a:pos x="66" y="91"/>
                  </a:cxn>
                  <a:cxn ang="0">
                    <a:pos x="75" y="80"/>
                  </a:cxn>
                  <a:cxn ang="0">
                    <a:pos x="96" y="55"/>
                  </a:cxn>
                  <a:cxn ang="0">
                    <a:pos x="96" y="0"/>
                  </a:cxn>
                  <a:cxn ang="0">
                    <a:pos x="75" y="14"/>
                  </a:cxn>
                  <a:cxn ang="0">
                    <a:pos x="66" y="14"/>
                  </a:cxn>
                  <a:cxn ang="0">
                    <a:pos x="54" y="14"/>
                  </a:cxn>
                  <a:cxn ang="0">
                    <a:pos x="9" y="14"/>
                  </a:cxn>
                  <a:cxn ang="0">
                    <a:pos x="0" y="39"/>
                  </a:cxn>
                </a:cxnLst>
                <a:rect l="0" t="0" r="r" b="b"/>
                <a:pathLst>
                  <a:path w="96" h="106">
                    <a:moveTo>
                      <a:pt x="0" y="39"/>
                    </a:moveTo>
                    <a:lnTo>
                      <a:pt x="9" y="65"/>
                    </a:lnTo>
                    <a:lnTo>
                      <a:pt x="20" y="91"/>
                    </a:lnTo>
                    <a:lnTo>
                      <a:pt x="41" y="106"/>
                    </a:lnTo>
                    <a:lnTo>
                      <a:pt x="66" y="91"/>
                    </a:lnTo>
                    <a:lnTo>
                      <a:pt x="75" y="80"/>
                    </a:lnTo>
                    <a:lnTo>
                      <a:pt x="96" y="55"/>
                    </a:lnTo>
                    <a:lnTo>
                      <a:pt x="96" y="0"/>
                    </a:lnTo>
                    <a:lnTo>
                      <a:pt x="75" y="14"/>
                    </a:lnTo>
                    <a:lnTo>
                      <a:pt x="66" y="14"/>
                    </a:lnTo>
                    <a:lnTo>
                      <a:pt x="54" y="14"/>
                    </a:lnTo>
                    <a:lnTo>
                      <a:pt x="9" y="14"/>
                    </a:lnTo>
                    <a:lnTo>
                      <a:pt x="0" y="3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8" name="Freeform 126">
                <a:extLst>
                  <a:ext uri="{FF2B5EF4-FFF2-40B4-BE49-F238E27FC236}">
                    <a16:creationId xmlns:a16="http://schemas.microsoft.com/office/drawing/2014/main" id="{188D0350-0515-4294-ACCE-26950F1A81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2898" y="3449853"/>
                <a:ext cx="206923" cy="279073"/>
              </a:xfrm>
              <a:custGeom>
                <a:avLst/>
                <a:gdLst/>
                <a:ahLst/>
                <a:cxnLst>
                  <a:cxn ang="0">
                    <a:pos x="152" y="190"/>
                  </a:cxn>
                  <a:cxn ang="0">
                    <a:pos x="131" y="205"/>
                  </a:cxn>
                  <a:cxn ang="0">
                    <a:pos x="122" y="205"/>
                  </a:cxn>
                  <a:cxn ang="0">
                    <a:pos x="109" y="205"/>
                  </a:cxn>
                  <a:cxn ang="0">
                    <a:pos x="109" y="179"/>
                  </a:cxn>
                  <a:cxn ang="0">
                    <a:pos x="97" y="154"/>
                  </a:cxn>
                  <a:cxn ang="0">
                    <a:pos x="84" y="129"/>
                  </a:cxn>
                  <a:cxn ang="0">
                    <a:pos x="64" y="100"/>
                  </a:cxn>
                  <a:cxn ang="0">
                    <a:pos x="54" y="114"/>
                  </a:cxn>
                  <a:cxn ang="0">
                    <a:pos x="45" y="100"/>
                  </a:cxn>
                  <a:cxn ang="0">
                    <a:pos x="20" y="114"/>
                  </a:cxn>
                  <a:cxn ang="0">
                    <a:pos x="20" y="74"/>
                  </a:cxn>
                  <a:cxn ang="0">
                    <a:pos x="8" y="64"/>
                  </a:cxn>
                  <a:cxn ang="0">
                    <a:pos x="0" y="54"/>
                  </a:cxn>
                  <a:cxn ang="0">
                    <a:pos x="20" y="24"/>
                  </a:cxn>
                  <a:cxn ang="0">
                    <a:pos x="20" y="0"/>
                  </a:cxn>
                  <a:cxn ang="0">
                    <a:pos x="30" y="0"/>
                  </a:cxn>
                  <a:cxn ang="0">
                    <a:pos x="54" y="35"/>
                  </a:cxn>
                  <a:cxn ang="0">
                    <a:pos x="75" y="54"/>
                  </a:cxn>
                  <a:cxn ang="0">
                    <a:pos x="84" y="64"/>
                  </a:cxn>
                  <a:cxn ang="0">
                    <a:pos x="75" y="74"/>
                  </a:cxn>
                  <a:cxn ang="0">
                    <a:pos x="122" y="129"/>
                  </a:cxn>
                  <a:cxn ang="0">
                    <a:pos x="122" y="140"/>
                  </a:cxn>
                  <a:cxn ang="0">
                    <a:pos x="139" y="165"/>
                  </a:cxn>
                  <a:cxn ang="0">
                    <a:pos x="152" y="190"/>
                  </a:cxn>
                </a:cxnLst>
                <a:rect l="0" t="0" r="r" b="b"/>
                <a:pathLst>
                  <a:path w="152" h="205">
                    <a:moveTo>
                      <a:pt x="152" y="190"/>
                    </a:moveTo>
                    <a:lnTo>
                      <a:pt x="131" y="205"/>
                    </a:lnTo>
                    <a:lnTo>
                      <a:pt x="122" y="205"/>
                    </a:lnTo>
                    <a:lnTo>
                      <a:pt x="109" y="205"/>
                    </a:lnTo>
                    <a:lnTo>
                      <a:pt x="109" y="179"/>
                    </a:lnTo>
                    <a:lnTo>
                      <a:pt x="97" y="154"/>
                    </a:lnTo>
                    <a:lnTo>
                      <a:pt x="84" y="129"/>
                    </a:lnTo>
                    <a:lnTo>
                      <a:pt x="64" y="100"/>
                    </a:lnTo>
                    <a:lnTo>
                      <a:pt x="54" y="114"/>
                    </a:lnTo>
                    <a:lnTo>
                      <a:pt x="45" y="100"/>
                    </a:lnTo>
                    <a:lnTo>
                      <a:pt x="20" y="114"/>
                    </a:lnTo>
                    <a:lnTo>
                      <a:pt x="20" y="74"/>
                    </a:lnTo>
                    <a:lnTo>
                      <a:pt x="8" y="64"/>
                    </a:lnTo>
                    <a:lnTo>
                      <a:pt x="0" y="54"/>
                    </a:lnTo>
                    <a:lnTo>
                      <a:pt x="20" y="24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54" y="35"/>
                    </a:lnTo>
                    <a:lnTo>
                      <a:pt x="75" y="54"/>
                    </a:lnTo>
                    <a:lnTo>
                      <a:pt x="84" y="64"/>
                    </a:lnTo>
                    <a:lnTo>
                      <a:pt x="75" y="74"/>
                    </a:lnTo>
                    <a:lnTo>
                      <a:pt x="122" y="129"/>
                    </a:lnTo>
                    <a:lnTo>
                      <a:pt x="122" y="140"/>
                    </a:lnTo>
                    <a:lnTo>
                      <a:pt x="139" y="165"/>
                    </a:lnTo>
                    <a:lnTo>
                      <a:pt x="152" y="19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9" name="Freeform 134">
                <a:extLst>
                  <a:ext uri="{FF2B5EF4-FFF2-40B4-BE49-F238E27FC236}">
                    <a16:creationId xmlns:a16="http://schemas.microsoft.com/office/drawing/2014/main" id="{D29C9659-95E3-4845-B203-6FFBCB661A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6516" y="3008781"/>
                <a:ext cx="690198" cy="932512"/>
              </a:xfrm>
              <a:custGeom>
                <a:avLst/>
                <a:gdLst/>
                <a:ahLst/>
                <a:cxnLst>
                  <a:cxn ang="0">
                    <a:pos x="338" y="191"/>
                  </a:cxn>
                  <a:cxn ang="0">
                    <a:pos x="353" y="232"/>
                  </a:cxn>
                  <a:cxn ang="0">
                    <a:pos x="299" y="220"/>
                  </a:cxn>
                  <a:cxn ang="0">
                    <a:pos x="253" y="206"/>
                  </a:cxn>
                  <a:cxn ang="0">
                    <a:pos x="206" y="141"/>
                  </a:cxn>
                  <a:cxn ang="0">
                    <a:pos x="155" y="90"/>
                  </a:cxn>
                  <a:cxn ang="0">
                    <a:pos x="176" y="76"/>
                  </a:cxn>
                  <a:cxn ang="0">
                    <a:pos x="176" y="28"/>
                  </a:cxn>
                  <a:cxn ang="0">
                    <a:pos x="155" y="0"/>
                  </a:cxn>
                  <a:cxn ang="0">
                    <a:pos x="122" y="28"/>
                  </a:cxn>
                  <a:cxn ang="0">
                    <a:pos x="67" y="28"/>
                  </a:cxn>
                  <a:cxn ang="0">
                    <a:pos x="78" y="65"/>
                  </a:cxn>
                  <a:cxn ang="0">
                    <a:pos x="87" y="90"/>
                  </a:cxn>
                  <a:cxn ang="0">
                    <a:pos x="54" y="191"/>
                  </a:cxn>
                  <a:cxn ang="0">
                    <a:pos x="33" y="191"/>
                  </a:cxn>
                  <a:cxn ang="0">
                    <a:pos x="23" y="220"/>
                  </a:cxn>
                  <a:cxn ang="0">
                    <a:pos x="33" y="242"/>
                  </a:cxn>
                  <a:cxn ang="0">
                    <a:pos x="45" y="268"/>
                  </a:cxn>
                  <a:cxn ang="0">
                    <a:pos x="11" y="286"/>
                  </a:cxn>
                  <a:cxn ang="0">
                    <a:pos x="23" y="322"/>
                  </a:cxn>
                  <a:cxn ang="0">
                    <a:pos x="45" y="322"/>
                  </a:cxn>
                  <a:cxn ang="0">
                    <a:pos x="54" y="376"/>
                  </a:cxn>
                  <a:cxn ang="0">
                    <a:pos x="78" y="359"/>
                  </a:cxn>
                  <a:cxn ang="0">
                    <a:pos x="87" y="333"/>
                  </a:cxn>
                  <a:cxn ang="0">
                    <a:pos x="131" y="514"/>
                  </a:cxn>
                  <a:cxn ang="0">
                    <a:pos x="198" y="685"/>
                  </a:cxn>
                  <a:cxn ang="0">
                    <a:pos x="222" y="644"/>
                  </a:cxn>
                  <a:cxn ang="0">
                    <a:pos x="231" y="594"/>
                  </a:cxn>
                  <a:cxn ang="0">
                    <a:pos x="231" y="503"/>
                  </a:cxn>
                  <a:cxn ang="0">
                    <a:pos x="253" y="489"/>
                  </a:cxn>
                  <a:cxn ang="0">
                    <a:pos x="262" y="478"/>
                  </a:cxn>
                  <a:cxn ang="0">
                    <a:pos x="308" y="424"/>
                  </a:cxn>
                  <a:cxn ang="0">
                    <a:pos x="338" y="387"/>
                  </a:cxn>
                  <a:cxn ang="0">
                    <a:pos x="363" y="347"/>
                  </a:cxn>
                  <a:cxn ang="0">
                    <a:pos x="375" y="347"/>
                  </a:cxn>
                  <a:cxn ang="0">
                    <a:pos x="353" y="268"/>
                  </a:cxn>
                  <a:cxn ang="0">
                    <a:pos x="353" y="242"/>
                  </a:cxn>
                  <a:cxn ang="0">
                    <a:pos x="363" y="232"/>
                  </a:cxn>
                  <a:cxn ang="0">
                    <a:pos x="384" y="256"/>
                  </a:cxn>
                  <a:cxn ang="0">
                    <a:pos x="405" y="286"/>
                  </a:cxn>
                  <a:cxn ang="0">
                    <a:pos x="430" y="311"/>
                  </a:cxn>
                  <a:cxn ang="0">
                    <a:pos x="439" y="333"/>
                  </a:cxn>
                  <a:cxn ang="0">
                    <a:pos x="452" y="297"/>
                  </a:cxn>
                  <a:cxn ang="0">
                    <a:pos x="472" y="232"/>
                  </a:cxn>
                  <a:cxn ang="0">
                    <a:pos x="507" y="206"/>
                  </a:cxn>
                  <a:cxn ang="0">
                    <a:pos x="472" y="155"/>
                  </a:cxn>
                  <a:cxn ang="0">
                    <a:pos x="430" y="177"/>
                  </a:cxn>
                  <a:cxn ang="0">
                    <a:pos x="414" y="206"/>
                  </a:cxn>
                  <a:cxn ang="0">
                    <a:pos x="375" y="220"/>
                  </a:cxn>
                  <a:cxn ang="0">
                    <a:pos x="363" y="206"/>
                  </a:cxn>
                </a:cxnLst>
                <a:rect l="0" t="0" r="r" b="b"/>
                <a:pathLst>
                  <a:path w="507" h="685">
                    <a:moveTo>
                      <a:pt x="353" y="191"/>
                    </a:moveTo>
                    <a:lnTo>
                      <a:pt x="338" y="191"/>
                    </a:lnTo>
                    <a:lnTo>
                      <a:pt x="338" y="220"/>
                    </a:lnTo>
                    <a:lnTo>
                      <a:pt x="353" y="232"/>
                    </a:lnTo>
                    <a:lnTo>
                      <a:pt x="330" y="232"/>
                    </a:lnTo>
                    <a:lnTo>
                      <a:pt x="299" y="220"/>
                    </a:lnTo>
                    <a:lnTo>
                      <a:pt x="274" y="206"/>
                    </a:lnTo>
                    <a:lnTo>
                      <a:pt x="253" y="206"/>
                    </a:lnTo>
                    <a:lnTo>
                      <a:pt x="198" y="167"/>
                    </a:lnTo>
                    <a:lnTo>
                      <a:pt x="206" y="141"/>
                    </a:lnTo>
                    <a:lnTo>
                      <a:pt x="176" y="119"/>
                    </a:lnTo>
                    <a:lnTo>
                      <a:pt x="155" y="90"/>
                    </a:lnTo>
                    <a:lnTo>
                      <a:pt x="155" y="76"/>
                    </a:lnTo>
                    <a:lnTo>
                      <a:pt x="176" y="76"/>
                    </a:lnTo>
                    <a:lnTo>
                      <a:pt x="164" y="50"/>
                    </a:lnTo>
                    <a:lnTo>
                      <a:pt x="176" y="28"/>
                    </a:lnTo>
                    <a:lnTo>
                      <a:pt x="176" y="11"/>
                    </a:lnTo>
                    <a:lnTo>
                      <a:pt x="155" y="0"/>
                    </a:lnTo>
                    <a:lnTo>
                      <a:pt x="131" y="11"/>
                    </a:lnTo>
                    <a:lnTo>
                      <a:pt x="122" y="28"/>
                    </a:lnTo>
                    <a:lnTo>
                      <a:pt x="100" y="28"/>
                    </a:lnTo>
                    <a:lnTo>
                      <a:pt x="67" y="28"/>
                    </a:lnTo>
                    <a:lnTo>
                      <a:pt x="78" y="40"/>
                    </a:lnTo>
                    <a:lnTo>
                      <a:pt x="78" y="65"/>
                    </a:lnTo>
                    <a:lnTo>
                      <a:pt x="100" y="90"/>
                    </a:lnTo>
                    <a:lnTo>
                      <a:pt x="87" y="90"/>
                    </a:lnTo>
                    <a:lnTo>
                      <a:pt x="100" y="119"/>
                    </a:lnTo>
                    <a:lnTo>
                      <a:pt x="54" y="191"/>
                    </a:lnTo>
                    <a:lnTo>
                      <a:pt x="45" y="191"/>
                    </a:lnTo>
                    <a:lnTo>
                      <a:pt x="33" y="191"/>
                    </a:lnTo>
                    <a:lnTo>
                      <a:pt x="23" y="206"/>
                    </a:lnTo>
                    <a:lnTo>
                      <a:pt x="23" y="220"/>
                    </a:lnTo>
                    <a:lnTo>
                      <a:pt x="33" y="232"/>
                    </a:lnTo>
                    <a:lnTo>
                      <a:pt x="33" y="242"/>
                    </a:lnTo>
                    <a:lnTo>
                      <a:pt x="45" y="242"/>
                    </a:lnTo>
                    <a:lnTo>
                      <a:pt x="45" y="268"/>
                    </a:lnTo>
                    <a:lnTo>
                      <a:pt x="45" y="286"/>
                    </a:lnTo>
                    <a:lnTo>
                      <a:pt x="11" y="286"/>
                    </a:lnTo>
                    <a:lnTo>
                      <a:pt x="0" y="297"/>
                    </a:lnTo>
                    <a:lnTo>
                      <a:pt x="23" y="322"/>
                    </a:lnTo>
                    <a:lnTo>
                      <a:pt x="45" y="311"/>
                    </a:lnTo>
                    <a:lnTo>
                      <a:pt x="45" y="322"/>
                    </a:lnTo>
                    <a:lnTo>
                      <a:pt x="23" y="333"/>
                    </a:lnTo>
                    <a:lnTo>
                      <a:pt x="54" y="376"/>
                    </a:lnTo>
                    <a:lnTo>
                      <a:pt x="67" y="359"/>
                    </a:lnTo>
                    <a:lnTo>
                      <a:pt x="78" y="359"/>
                    </a:lnTo>
                    <a:lnTo>
                      <a:pt x="78" y="333"/>
                    </a:lnTo>
                    <a:lnTo>
                      <a:pt x="87" y="333"/>
                    </a:lnTo>
                    <a:lnTo>
                      <a:pt x="109" y="478"/>
                    </a:lnTo>
                    <a:lnTo>
                      <a:pt x="131" y="514"/>
                    </a:lnTo>
                    <a:lnTo>
                      <a:pt x="176" y="659"/>
                    </a:lnTo>
                    <a:lnTo>
                      <a:pt x="198" y="685"/>
                    </a:lnTo>
                    <a:lnTo>
                      <a:pt x="206" y="659"/>
                    </a:lnTo>
                    <a:lnTo>
                      <a:pt x="222" y="644"/>
                    </a:lnTo>
                    <a:lnTo>
                      <a:pt x="231" y="620"/>
                    </a:lnTo>
                    <a:lnTo>
                      <a:pt x="231" y="594"/>
                    </a:lnTo>
                    <a:lnTo>
                      <a:pt x="241" y="554"/>
                    </a:lnTo>
                    <a:lnTo>
                      <a:pt x="231" y="503"/>
                    </a:lnTo>
                    <a:lnTo>
                      <a:pt x="241" y="489"/>
                    </a:lnTo>
                    <a:lnTo>
                      <a:pt x="253" y="489"/>
                    </a:lnTo>
                    <a:lnTo>
                      <a:pt x="253" y="478"/>
                    </a:lnTo>
                    <a:lnTo>
                      <a:pt x="262" y="478"/>
                    </a:lnTo>
                    <a:lnTo>
                      <a:pt x="274" y="464"/>
                    </a:lnTo>
                    <a:lnTo>
                      <a:pt x="308" y="424"/>
                    </a:lnTo>
                    <a:lnTo>
                      <a:pt x="317" y="398"/>
                    </a:lnTo>
                    <a:lnTo>
                      <a:pt x="338" y="387"/>
                    </a:lnTo>
                    <a:lnTo>
                      <a:pt x="338" y="347"/>
                    </a:lnTo>
                    <a:lnTo>
                      <a:pt x="363" y="347"/>
                    </a:lnTo>
                    <a:lnTo>
                      <a:pt x="363" y="333"/>
                    </a:lnTo>
                    <a:lnTo>
                      <a:pt x="375" y="347"/>
                    </a:lnTo>
                    <a:lnTo>
                      <a:pt x="363" y="286"/>
                    </a:lnTo>
                    <a:lnTo>
                      <a:pt x="353" y="268"/>
                    </a:lnTo>
                    <a:lnTo>
                      <a:pt x="363" y="256"/>
                    </a:lnTo>
                    <a:lnTo>
                      <a:pt x="353" y="242"/>
                    </a:lnTo>
                    <a:lnTo>
                      <a:pt x="353" y="232"/>
                    </a:lnTo>
                    <a:lnTo>
                      <a:pt x="363" y="232"/>
                    </a:lnTo>
                    <a:lnTo>
                      <a:pt x="375" y="232"/>
                    </a:lnTo>
                    <a:lnTo>
                      <a:pt x="384" y="256"/>
                    </a:lnTo>
                    <a:lnTo>
                      <a:pt x="430" y="256"/>
                    </a:lnTo>
                    <a:lnTo>
                      <a:pt x="405" y="286"/>
                    </a:lnTo>
                    <a:lnTo>
                      <a:pt x="405" y="297"/>
                    </a:lnTo>
                    <a:lnTo>
                      <a:pt x="430" y="311"/>
                    </a:lnTo>
                    <a:lnTo>
                      <a:pt x="430" y="297"/>
                    </a:lnTo>
                    <a:lnTo>
                      <a:pt x="439" y="333"/>
                    </a:lnTo>
                    <a:lnTo>
                      <a:pt x="452" y="333"/>
                    </a:lnTo>
                    <a:lnTo>
                      <a:pt x="452" y="297"/>
                    </a:lnTo>
                    <a:lnTo>
                      <a:pt x="461" y="297"/>
                    </a:lnTo>
                    <a:lnTo>
                      <a:pt x="472" y="232"/>
                    </a:lnTo>
                    <a:lnTo>
                      <a:pt x="494" y="206"/>
                    </a:lnTo>
                    <a:lnTo>
                      <a:pt x="507" y="206"/>
                    </a:lnTo>
                    <a:lnTo>
                      <a:pt x="507" y="191"/>
                    </a:lnTo>
                    <a:lnTo>
                      <a:pt x="472" y="155"/>
                    </a:lnTo>
                    <a:lnTo>
                      <a:pt x="452" y="155"/>
                    </a:lnTo>
                    <a:lnTo>
                      <a:pt x="430" y="177"/>
                    </a:lnTo>
                    <a:lnTo>
                      <a:pt x="405" y="191"/>
                    </a:lnTo>
                    <a:lnTo>
                      <a:pt x="414" y="206"/>
                    </a:lnTo>
                    <a:lnTo>
                      <a:pt x="414" y="220"/>
                    </a:lnTo>
                    <a:lnTo>
                      <a:pt x="375" y="220"/>
                    </a:lnTo>
                    <a:lnTo>
                      <a:pt x="363" y="220"/>
                    </a:lnTo>
                    <a:lnTo>
                      <a:pt x="363" y="206"/>
                    </a:lnTo>
                    <a:lnTo>
                      <a:pt x="353" y="1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0" name="Freeform 136">
                <a:extLst>
                  <a:ext uri="{FF2B5EF4-FFF2-40B4-BE49-F238E27FC236}">
                    <a16:creationId xmlns:a16="http://schemas.microsoft.com/office/drawing/2014/main" id="{2DBF14DB-581B-4A65-89C9-A0BD7B5BF7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7422" y="3202090"/>
                <a:ext cx="211007" cy="122520"/>
              </a:xfrm>
              <a:custGeom>
                <a:avLst/>
                <a:gdLst/>
                <a:ahLst/>
                <a:cxnLst>
                  <a:cxn ang="0">
                    <a:pos x="139" y="78"/>
                  </a:cxn>
                  <a:cxn ang="0">
                    <a:pos x="155" y="90"/>
                  </a:cxn>
                  <a:cxn ang="0">
                    <a:pos x="131" y="90"/>
                  </a:cxn>
                  <a:cxn ang="0">
                    <a:pos x="100" y="78"/>
                  </a:cxn>
                  <a:cxn ang="0">
                    <a:pos x="75" y="64"/>
                  </a:cxn>
                  <a:cxn ang="0">
                    <a:pos x="54" y="64"/>
                  </a:cxn>
                  <a:cxn ang="0">
                    <a:pos x="0" y="25"/>
                  </a:cxn>
                  <a:cxn ang="0">
                    <a:pos x="8" y="0"/>
                  </a:cxn>
                  <a:cxn ang="0">
                    <a:pos x="33" y="0"/>
                  </a:cxn>
                  <a:cxn ang="0">
                    <a:pos x="54" y="25"/>
                  </a:cxn>
                  <a:cxn ang="0">
                    <a:pos x="64" y="14"/>
                  </a:cxn>
                  <a:cxn ang="0">
                    <a:pos x="109" y="50"/>
                  </a:cxn>
                  <a:cxn ang="0">
                    <a:pos x="139" y="50"/>
                  </a:cxn>
                  <a:cxn ang="0">
                    <a:pos x="139" y="78"/>
                  </a:cxn>
                </a:cxnLst>
                <a:rect l="0" t="0" r="r" b="b"/>
                <a:pathLst>
                  <a:path w="155" h="90">
                    <a:moveTo>
                      <a:pt x="139" y="78"/>
                    </a:moveTo>
                    <a:lnTo>
                      <a:pt x="155" y="90"/>
                    </a:lnTo>
                    <a:lnTo>
                      <a:pt x="131" y="90"/>
                    </a:lnTo>
                    <a:lnTo>
                      <a:pt x="100" y="78"/>
                    </a:lnTo>
                    <a:lnTo>
                      <a:pt x="75" y="64"/>
                    </a:lnTo>
                    <a:lnTo>
                      <a:pt x="54" y="64"/>
                    </a:lnTo>
                    <a:lnTo>
                      <a:pt x="0" y="25"/>
                    </a:lnTo>
                    <a:lnTo>
                      <a:pt x="8" y="0"/>
                    </a:lnTo>
                    <a:lnTo>
                      <a:pt x="33" y="0"/>
                    </a:lnTo>
                    <a:lnTo>
                      <a:pt x="54" y="25"/>
                    </a:lnTo>
                    <a:lnTo>
                      <a:pt x="64" y="14"/>
                    </a:lnTo>
                    <a:lnTo>
                      <a:pt x="109" y="50"/>
                    </a:lnTo>
                    <a:lnTo>
                      <a:pt x="139" y="50"/>
                    </a:lnTo>
                    <a:lnTo>
                      <a:pt x="139" y="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1" name="Freeform 138">
                <a:extLst>
                  <a:ext uri="{FF2B5EF4-FFF2-40B4-BE49-F238E27FC236}">
                    <a16:creationId xmlns:a16="http://schemas.microsoft.com/office/drawing/2014/main" id="{4ACF73AB-2C69-44A3-B82A-5E7FC58A5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0301" y="2871287"/>
                <a:ext cx="490081" cy="488718"/>
              </a:xfrm>
              <a:custGeom>
                <a:avLst/>
                <a:gdLst/>
                <a:ahLst/>
                <a:cxnLst>
                  <a:cxn ang="0">
                    <a:pos x="262" y="343"/>
                  </a:cxn>
                  <a:cxn ang="0">
                    <a:pos x="338" y="359"/>
                  </a:cxn>
                  <a:cxn ang="0">
                    <a:pos x="338" y="333"/>
                  </a:cxn>
                  <a:cxn ang="0">
                    <a:pos x="360" y="321"/>
                  </a:cxn>
                  <a:cxn ang="0">
                    <a:pos x="360" y="307"/>
                  </a:cxn>
                  <a:cxn ang="0">
                    <a:pos x="350" y="278"/>
                  </a:cxn>
                  <a:cxn ang="0">
                    <a:pos x="338" y="278"/>
                  </a:cxn>
                  <a:cxn ang="0">
                    <a:pos x="314" y="242"/>
                  </a:cxn>
                  <a:cxn ang="0">
                    <a:pos x="329" y="220"/>
                  </a:cxn>
                  <a:cxn ang="0">
                    <a:pos x="329" y="203"/>
                  </a:cxn>
                  <a:cxn ang="0">
                    <a:pos x="305" y="203"/>
                  </a:cxn>
                  <a:cxn ang="0">
                    <a:pos x="295" y="151"/>
                  </a:cxn>
                  <a:cxn ang="0">
                    <a:pos x="295" y="141"/>
                  </a:cxn>
                  <a:cxn ang="0">
                    <a:pos x="305" y="130"/>
                  </a:cxn>
                  <a:cxn ang="0">
                    <a:pos x="305" y="101"/>
                  </a:cxn>
                  <a:cxn ang="0">
                    <a:pos x="305" y="86"/>
                  </a:cxn>
                  <a:cxn ang="0">
                    <a:pos x="219" y="36"/>
                  </a:cxn>
                  <a:cxn ang="0">
                    <a:pos x="198" y="50"/>
                  </a:cxn>
                  <a:cxn ang="0">
                    <a:pos x="173" y="65"/>
                  </a:cxn>
                  <a:cxn ang="0">
                    <a:pos x="173" y="76"/>
                  </a:cxn>
                  <a:cxn ang="0">
                    <a:pos x="131" y="86"/>
                  </a:cxn>
                  <a:cxn ang="0">
                    <a:pos x="87" y="65"/>
                  </a:cxn>
                  <a:cxn ang="0">
                    <a:pos x="87" y="36"/>
                  </a:cxn>
                  <a:cxn ang="0">
                    <a:pos x="67" y="21"/>
                  </a:cxn>
                  <a:cxn ang="0">
                    <a:pos x="67" y="10"/>
                  </a:cxn>
                  <a:cxn ang="0">
                    <a:pos x="42" y="21"/>
                  </a:cxn>
                  <a:cxn ang="0">
                    <a:pos x="30" y="21"/>
                  </a:cxn>
                  <a:cxn ang="0">
                    <a:pos x="20" y="21"/>
                  </a:cxn>
                  <a:cxn ang="0">
                    <a:pos x="12" y="0"/>
                  </a:cxn>
                  <a:cxn ang="0">
                    <a:pos x="0" y="10"/>
                  </a:cxn>
                  <a:cxn ang="0">
                    <a:pos x="20" y="65"/>
                  </a:cxn>
                  <a:cxn ang="0">
                    <a:pos x="42" y="112"/>
                  </a:cxn>
                  <a:cxn ang="0">
                    <a:pos x="30" y="141"/>
                  </a:cxn>
                  <a:cxn ang="0">
                    <a:pos x="42" y="166"/>
                  </a:cxn>
                  <a:cxn ang="0">
                    <a:pos x="76" y="177"/>
                  </a:cxn>
                  <a:cxn ang="0">
                    <a:pos x="76" y="220"/>
                  </a:cxn>
                  <a:cxn ang="0">
                    <a:pos x="97" y="242"/>
                  </a:cxn>
                  <a:cxn ang="0">
                    <a:pos x="106" y="232"/>
                  </a:cxn>
                  <a:cxn ang="0">
                    <a:pos x="131" y="242"/>
                  </a:cxn>
                  <a:cxn ang="0">
                    <a:pos x="152" y="293"/>
                  </a:cxn>
                  <a:cxn ang="0">
                    <a:pos x="198" y="333"/>
                  </a:cxn>
                  <a:cxn ang="0">
                    <a:pos x="219" y="333"/>
                  </a:cxn>
                  <a:cxn ang="0">
                    <a:pos x="250" y="321"/>
                  </a:cxn>
                  <a:cxn ang="0">
                    <a:pos x="262" y="343"/>
                  </a:cxn>
                </a:cxnLst>
                <a:rect l="0" t="0" r="r" b="b"/>
                <a:pathLst>
                  <a:path w="360" h="359">
                    <a:moveTo>
                      <a:pt x="262" y="343"/>
                    </a:moveTo>
                    <a:lnTo>
                      <a:pt x="338" y="359"/>
                    </a:lnTo>
                    <a:lnTo>
                      <a:pt x="338" y="333"/>
                    </a:lnTo>
                    <a:lnTo>
                      <a:pt x="360" y="321"/>
                    </a:lnTo>
                    <a:lnTo>
                      <a:pt x="360" y="307"/>
                    </a:lnTo>
                    <a:lnTo>
                      <a:pt x="350" y="278"/>
                    </a:lnTo>
                    <a:lnTo>
                      <a:pt x="338" y="278"/>
                    </a:lnTo>
                    <a:lnTo>
                      <a:pt x="314" y="242"/>
                    </a:lnTo>
                    <a:lnTo>
                      <a:pt x="329" y="220"/>
                    </a:lnTo>
                    <a:lnTo>
                      <a:pt x="329" y="203"/>
                    </a:lnTo>
                    <a:lnTo>
                      <a:pt x="305" y="203"/>
                    </a:lnTo>
                    <a:lnTo>
                      <a:pt x="295" y="151"/>
                    </a:lnTo>
                    <a:lnTo>
                      <a:pt x="295" y="141"/>
                    </a:lnTo>
                    <a:lnTo>
                      <a:pt x="305" y="130"/>
                    </a:lnTo>
                    <a:lnTo>
                      <a:pt x="305" y="101"/>
                    </a:lnTo>
                    <a:lnTo>
                      <a:pt x="305" y="86"/>
                    </a:lnTo>
                    <a:lnTo>
                      <a:pt x="219" y="36"/>
                    </a:lnTo>
                    <a:lnTo>
                      <a:pt x="198" y="50"/>
                    </a:lnTo>
                    <a:lnTo>
                      <a:pt x="173" y="65"/>
                    </a:lnTo>
                    <a:lnTo>
                      <a:pt x="173" y="76"/>
                    </a:lnTo>
                    <a:lnTo>
                      <a:pt x="131" y="86"/>
                    </a:lnTo>
                    <a:lnTo>
                      <a:pt x="87" y="65"/>
                    </a:lnTo>
                    <a:lnTo>
                      <a:pt x="87" y="36"/>
                    </a:lnTo>
                    <a:lnTo>
                      <a:pt x="67" y="21"/>
                    </a:lnTo>
                    <a:lnTo>
                      <a:pt x="67" y="10"/>
                    </a:lnTo>
                    <a:lnTo>
                      <a:pt x="42" y="21"/>
                    </a:lnTo>
                    <a:lnTo>
                      <a:pt x="30" y="21"/>
                    </a:lnTo>
                    <a:lnTo>
                      <a:pt x="20" y="21"/>
                    </a:lnTo>
                    <a:lnTo>
                      <a:pt x="12" y="0"/>
                    </a:lnTo>
                    <a:lnTo>
                      <a:pt x="0" y="10"/>
                    </a:lnTo>
                    <a:lnTo>
                      <a:pt x="20" y="65"/>
                    </a:lnTo>
                    <a:lnTo>
                      <a:pt x="42" y="112"/>
                    </a:lnTo>
                    <a:lnTo>
                      <a:pt x="30" y="141"/>
                    </a:lnTo>
                    <a:lnTo>
                      <a:pt x="42" y="166"/>
                    </a:lnTo>
                    <a:lnTo>
                      <a:pt x="76" y="177"/>
                    </a:lnTo>
                    <a:lnTo>
                      <a:pt x="76" y="220"/>
                    </a:lnTo>
                    <a:lnTo>
                      <a:pt x="97" y="242"/>
                    </a:lnTo>
                    <a:lnTo>
                      <a:pt x="106" y="232"/>
                    </a:lnTo>
                    <a:lnTo>
                      <a:pt x="131" y="242"/>
                    </a:lnTo>
                    <a:lnTo>
                      <a:pt x="152" y="293"/>
                    </a:lnTo>
                    <a:lnTo>
                      <a:pt x="198" y="333"/>
                    </a:lnTo>
                    <a:lnTo>
                      <a:pt x="219" y="333"/>
                    </a:lnTo>
                    <a:lnTo>
                      <a:pt x="250" y="321"/>
                    </a:lnTo>
                    <a:lnTo>
                      <a:pt x="262" y="34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2" name="Freeform 140">
                <a:extLst>
                  <a:ext uri="{FF2B5EF4-FFF2-40B4-BE49-F238E27FC236}">
                    <a16:creationId xmlns:a16="http://schemas.microsoft.com/office/drawing/2014/main" id="{CC80D2AA-8063-440E-A443-A10D2CDFF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9123" y="2976110"/>
                <a:ext cx="375729" cy="436988"/>
              </a:xfrm>
              <a:custGeom>
                <a:avLst/>
                <a:gdLst/>
                <a:ahLst/>
                <a:cxnLst>
                  <a:cxn ang="0">
                    <a:pos x="155" y="310"/>
                  </a:cxn>
                  <a:cxn ang="0">
                    <a:pos x="144" y="321"/>
                  </a:cxn>
                  <a:cxn ang="0">
                    <a:pos x="134" y="321"/>
                  </a:cxn>
                  <a:cxn ang="0">
                    <a:pos x="113" y="280"/>
                  </a:cxn>
                  <a:cxn ang="0">
                    <a:pos x="76" y="280"/>
                  </a:cxn>
                  <a:cxn ang="0">
                    <a:pos x="67" y="280"/>
                  </a:cxn>
                  <a:cxn ang="0">
                    <a:pos x="23" y="280"/>
                  </a:cxn>
                  <a:cxn ang="0">
                    <a:pos x="23" y="256"/>
                  </a:cxn>
                  <a:cxn ang="0">
                    <a:pos x="45" y="244"/>
                  </a:cxn>
                  <a:cxn ang="0">
                    <a:pos x="45" y="230"/>
                  </a:cxn>
                  <a:cxn ang="0">
                    <a:pos x="36" y="201"/>
                  </a:cxn>
                  <a:cxn ang="0">
                    <a:pos x="23" y="201"/>
                  </a:cxn>
                  <a:cxn ang="0">
                    <a:pos x="0" y="165"/>
                  </a:cxn>
                  <a:cxn ang="0">
                    <a:pos x="23" y="180"/>
                  </a:cxn>
                  <a:cxn ang="0">
                    <a:pos x="100" y="165"/>
                  </a:cxn>
                  <a:cxn ang="0">
                    <a:pos x="100" y="144"/>
                  </a:cxn>
                  <a:cxn ang="0">
                    <a:pos x="144" y="126"/>
                  </a:cxn>
                  <a:cxn ang="0">
                    <a:pos x="144" y="89"/>
                  </a:cxn>
                  <a:cxn ang="0">
                    <a:pos x="155" y="76"/>
                  </a:cxn>
                  <a:cxn ang="0">
                    <a:pos x="144" y="64"/>
                  </a:cxn>
                  <a:cxn ang="0">
                    <a:pos x="168" y="64"/>
                  </a:cxn>
                  <a:cxn ang="0">
                    <a:pos x="168" y="53"/>
                  </a:cxn>
                  <a:cxn ang="0">
                    <a:pos x="168" y="10"/>
                  </a:cxn>
                  <a:cxn ang="0">
                    <a:pos x="189" y="0"/>
                  </a:cxn>
                  <a:cxn ang="0">
                    <a:pos x="199" y="0"/>
                  </a:cxn>
                  <a:cxn ang="0">
                    <a:pos x="211" y="0"/>
                  </a:cxn>
                  <a:cxn ang="0">
                    <a:pos x="232" y="0"/>
                  </a:cxn>
                  <a:cxn ang="0">
                    <a:pos x="244" y="24"/>
                  </a:cxn>
                  <a:cxn ang="0">
                    <a:pos x="276" y="36"/>
                  </a:cxn>
                  <a:cxn ang="0">
                    <a:pos x="266" y="53"/>
                  </a:cxn>
                  <a:cxn ang="0">
                    <a:pos x="244" y="53"/>
                  </a:cxn>
                  <a:cxn ang="0">
                    <a:pos x="211" y="53"/>
                  </a:cxn>
                  <a:cxn ang="0">
                    <a:pos x="223" y="64"/>
                  </a:cxn>
                  <a:cxn ang="0">
                    <a:pos x="223" y="89"/>
                  </a:cxn>
                  <a:cxn ang="0">
                    <a:pos x="244" y="115"/>
                  </a:cxn>
                  <a:cxn ang="0">
                    <a:pos x="232" y="115"/>
                  </a:cxn>
                  <a:cxn ang="0">
                    <a:pos x="244" y="144"/>
                  </a:cxn>
                  <a:cxn ang="0">
                    <a:pos x="199" y="216"/>
                  </a:cxn>
                  <a:cxn ang="0">
                    <a:pos x="189" y="216"/>
                  </a:cxn>
                  <a:cxn ang="0">
                    <a:pos x="177" y="216"/>
                  </a:cxn>
                  <a:cxn ang="0">
                    <a:pos x="168" y="230"/>
                  </a:cxn>
                  <a:cxn ang="0">
                    <a:pos x="168" y="244"/>
                  </a:cxn>
                  <a:cxn ang="0">
                    <a:pos x="177" y="256"/>
                  </a:cxn>
                  <a:cxn ang="0">
                    <a:pos x="177" y="266"/>
                  </a:cxn>
                  <a:cxn ang="0">
                    <a:pos x="189" y="266"/>
                  </a:cxn>
                  <a:cxn ang="0">
                    <a:pos x="189" y="292"/>
                  </a:cxn>
                  <a:cxn ang="0">
                    <a:pos x="189" y="310"/>
                  </a:cxn>
                  <a:cxn ang="0">
                    <a:pos x="155" y="310"/>
                  </a:cxn>
                </a:cxnLst>
                <a:rect l="0" t="0" r="r" b="b"/>
                <a:pathLst>
                  <a:path w="276" h="321">
                    <a:moveTo>
                      <a:pt x="155" y="310"/>
                    </a:moveTo>
                    <a:lnTo>
                      <a:pt x="144" y="321"/>
                    </a:lnTo>
                    <a:lnTo>
                      <a:pt x="134" y="321"/>
                    </a:lnTo>
                    <a:lnTo>
                      <a:pt x="113" y="280"/>
                    </a:lnTo>
                    <a:lnTo>
                      <a:pt x="76" y="280"/>
                    </a:lnTo>
                    <a:lnTo>
                      <a:pt x="67" y="280"/>
                    </a:lnTo>
                    <a:lnTo>
                      <a:pt x="23" y="280"/>
                    </a:lnTo>
                    <a:lnTo>
                      <a:pt x="23" y="256"/>
                    </a:lnTo>
                    <a:lnTo>
                      <a:pt x="45" y="244"/>
                    </a:lnTo>
                    <a:lnTo>
                      <a:pt x="45" y="230"/>
                    </a:lnTo>
                    <a:lnTo>
                      <a:pt x="36" y="201"/>
                    </a:lnTo>
                    <a:lnTo>
                      <a:pt x="23" y="201"/>
                    </a:lnTo>
                    <a:lnTo>
                      <a:pt x="0" y="165"/>
                    </a:lnTo>
                    <a:lnTo>
                      <a:pt x="23" y="180"/>
                    </a:lnTo>
                    <a:lnTo>
                      <a:pt x="100" y="165"/>
                    </a:lnTo>
                    <a:lnTo>
                      <a:pt x="100" y="144"/>
                    </a:lnTo>
                    <a:lnTo>
                      <a:pt x="144" y="126"/>
                    </a:lnTo>
                    <a:lnTo>
                      <a:pt x="144" y="89"/>
                    </a:lnTo>
                    <a:lnTo>
                      <a:pt x="155" y="76"/>
                    </a:lnTo>
                    <a:lnTo>
                      <a:pt x="144" y="64"/>
                    </a:lnTo>
                    <a:lnTo>
                      <a:pt x="168" y="64"/>
                    </a:lnTo>
                    <a:lnTo>
                      <a:pt x="168" y="53"/>
                    </a:lnTo>
                    <a:lnTo>
                      <a:pt x="168" y="10"/>
                    </a:lnTo>
                    <a:lnTo>
                      <a:pt x="189" y="0"/>
                    </a:lnTo>
                    <a:lnTo>
                      <a:pt x="199" y="0"/>
                    </a:lnTo>
                    <a:lnTo>
                      <a:pt x="211" y="0"/>
                    </a:lnTo>
                    <a:lnTo>
                      <a:pt x="232" y="0"/>
                    </a:lnTo>
                    <a:lnTo>
                      <a:pt x="244" y="24"/>
                    </a:lnTo>
                    <a:lnTo>
                      <a:pt x="276" y="36"/>
                    </a:lnTo>
                    <a:lnTo>
                      <a:pt x="266" y="53"/>
                    </a:lnTo>
                    <a:lnTo>
                      <a:pt x="244" y="53"/>
                    </a:lnTo>
                    <a:lnTo>
                      <a:pt x="211" y="53"/>
                    </a:lnTo>
                    <a:lnTo>
                      <a:pt x="223" y="64"/>
                    </a:lnTo>
                    <a:lnTo>
                      <a:pt x="223" y="89"/>
                    </a:lnTo>
                    <a:lnTo>
                      <a:pt x="244" y="115"/>
                    </a:lnTo>
                    <a:lnTo>
                      <a:pt x="232" y="115"/>
                    </a:lnTo>
                    <a:lnTo>
                      <a:pt x="244" y="144"/>
                    </a:lnTo>
                    <a:lnTo>
                      <a:pt x="199" y="216"/>
                    </a:lnTo>
                    <a:lnTo>
                      <a:pt x="189" y="216"/>
                    </a:lnTo>
                    <a:lnTo>
                      <a:pt x="177" y="216"/>
                    </a:lnTo>
                    <a:lnTo>
                      <a:pt x="168" y="230"/>
                    </a:lnTo>
                    <a:lnTo>
                      <a:pt x="168" y="244"/>
                    </a:lnTo>
                    <a:lnTo>
                      <a:pt x="177" y="256"/>
                    </a:lnTo>
                    <a:lnTo>
                      <a:pt x="177" y="266"/>
                    </a:lnTo>
                    <a:lnTo>
                      <a:pt x="189" y="266"/>
                    </a:lnTo>
                    <a:lnTo>
                      <a:pt x="189" y="292"/>
                    </a:lnTo>
                    <a:lnTo>
                      <a:pt x="189" y="310"/>
                    </a:lnTo>
                    <a:lnTo>
                      <a:pt x="155" y="31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3" name="Freeform 142">
                <a:extLst>
                  <a:ext uri="{FF2B5EF4-FFF2-40B4-BE49-F238E27FC236}">
                    <a16:creationId xmlns:a16="http://schemas.microsoft.com/office/drawing/2014/main" id="{1FD67E8E-2BEF-431E-A285-8E3CEC3475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4617" y="2921657"/>
                <a:ext cx="311746" cy="300854"/>
              </a:xfrm>
              <a:custGeom>
                <a:avLst/>
                <a:gdLst/>
                <a:ahLst/>
                <a:cxnLst>
                  <a:cxn ang="0">
                    <a:pos x="85" y="28"/>
                  </a:cxn>
                  <a:cxn ang="0">
                    <a:pos x="76" y="28"/>
                  </a:cxn>
                  <a:cxn ang="0">
                    <a:pos x="64" y="28"/>
                  </a:cxn>
                  <a:cxn ang="0">
                    <a:pos x="64" y="50"/>
                  </a:cxn>
                  <a:cxn ang="0">
                    <a:pos x="42" y="65"/>
                  </a:cxn>
                  <a:cxn ang="0">
                    <a:pos x="34" y="76"/>
                  </a:cxn>
                  <a:cxn ang="0">
                    <a:pos x="9" y="65"/>
                  </a:cxn>
                  <a:cxn ang="0">
                    <a:pos x="9" y="93"/>
                  </a:cxn>
                  <a:cxn ang="0">
                    <a:pos x="0" y="105"/>
                  </a:cxn>
                  <a:cxn ang="0">
                    <a:pos x="0" y="116"/>
                  </a:cxn>
                  <a:cxn ang="0">
                    <a:pos x="9" y="167"/>
                  </a:cxn>
                  <a:cxn ang="0">
                    <a:pos x="34" y="167"/>
                  </a:cxn>
                  <a:cxn ang="0">
                    <a:pos x="34" y="184"/>
                  </a:cxn>
                  <a:cxn ang="0">
                    <a:pos x="18" y="206"/>
                  </a:cxn>
                  <a:cxn ang="0">
                    <a:pos x="42" y="221"/>
                  </a:cxn>
                  <a:cxn ang="0">
                    <a:pos x="119" y="206"/>
                  </a:cxn>
                  <a:cxn ang="0">
                    <a:pos x="119" y="184"/>
                  </a:cxn>
                  <a:cxn ang="0">
                    <a:pos x="162" y="167"/>
                  </a:cxn>
                  <a:cxn ang="0">
                    <a:pos x="162" y="131"/>
                  </a:cxn>
                  <a:cxn ang="0">
                    <a:pos x="174" y="116"/>
                  </a:cxn>
                  <a:cxn ang="0">
                    <a:pos x="162" y="105"/>
                  </a:cxn>
                  <a:cxn ang="0">
                    <a:pos x="186" y="105"/>
                  </a:cxn>
                  <a:cxn ang="0">
                    <a:pos x="186" y="93"/>
                  </a:cxn>
                  <a:cxn ang="0">
                    <a:pos x="186" y="50"/>
                  </a:cxn>
                  <a:cxn ang="0">
                    <a:pos x="208" y="40"/>
                  </a:cxn>
                  <a:cxn ang="0">
                    <a:pos x="217" y="40"/>
                  </a:cxn>
                  <a:cxn ang="0">
                    <a:pos x="229" y="40"/>
                  </a:cxn>
                  <a:cxn ang="0">
                    <a:pos x="229" y="28"/>
                  </a:cxn>
                  <a:cxn ang="0">
                    <a:pos x="208" y="28"/>
                  </a:cxn>
                  <a:cxn ang="0">
                    <a:pos x="186" y="40"/>
                  </a:cxn>
                  <a:cxn ang="0">
                    <a:pos x="174" y="14"/>
                  </a:cxn>
                  <a:cxn ang="0">
                    <a:pos x="162" y="0"/>
                  </a:cxn>
                  <a:cxn ang="0">
                    <a:pos x="153" y="28"/>
                  </a:cxn>
                  <a:cxn ang="0">
                    <a:pos x="140" y="28"/>
                  </a:cxn>
                  <a:cxn ang="0">
                    <a:pos x="119" y="40"/>
                  </a:cxn>
                  <a:cxn ang="0">
                    <a:pos x="109" y="40"/>
                  </a:cxn>
                  <a:cxn ang="0">
                    <a:pos x="85" y="28"/>
                  </a:cxn>
                </a:cxnLst>
                <a:rect l="0" t="0" r="r" b="b"/>
                <a:pathLst>
                  <a:path w="229" h="221">
                    <a:moveTo>
                      <a:pt x="85" y="28"/>
                    </a:moveTo>
                    <a:lnTo>
                      <a:pt x="76" y="28"/>
                    </a:lnTo>
                    <a:lnTo>
                      <a:pt x="64" y="28"/>
                    </a:lnTo>
                    <a:lnTo>
                      <a:pt x="64" y="50"/>
                    </a:lnTo>
                    <a:lnTo>
                      <a:pt x="42" y="65"/>
                    </a:lnTo>
                    <a:lnTo>
                      <a:pt x="34" y="76"/>
                    </a:lnTo>
                    <a:lnTo>
                      <a:pt x="9" y="65"/>
                    </a:lnTo>
                    <a:lnTo>
                      <a:pt x="9" y="93"/>
                    </a:lnTo>
                    <a:lnTo>
                      <a:pt x="0" y="105"/>
                    </a:lnTo>
                    <a:lnTo>
                      <a:pt x="0" y="116"/>
                    </a:lnTo>
                    <a:lnTo>
                      <a:pt x="9" y="167"/>
                    </a:lnTo>
                    <a:lnTo>
                      <a:pt x="34" y="167"/>
                    </a:lnTo>
                    <a:lnTo>
                      <a:pt x="34" y="184"/>
                    </a:lnTo>
                    <a:lnTo>
                      <a:pt x="18" y="206"/>
                    </a:lnTo>
                    <a:lnTo>
                      <a:pt x="42" y="221"/>
                    </a:lnTo>
                    <a:lnTo>
                      <a:pt x="119" y="206"/>
                    </a:lnTo>
                    <a:lnTo>
                      <a:pt x="119" y="184"/>
                    </a:lnTo>
                    <a:lnTo>
                      <a:pt x="162" y="167"/>
                    </a:lnTo>
                    <a:lnTo>
                      <a:pt x="162" y="131"/>
                    </a:lnTo>
                    <a:lnTo>
                      <a:pt x="174" y="116"/>
                    </a:lnTo>
                    <a:lnTo>
                      <a:pt x="162" y="105"/>
                    </a:lnTo>
                    <a:lnTo>
                      <a:pt x="186" y="105"/>
                    </a:lnTo>
                    <a:lnTo>
                      <a:pt x="186" y="93"/>
                    </a:lnTo>
                    <a:lnTo>
                      <a:pt x="186" y="50"/>
                    </a:lnTo>
                    <a:lnTo>
                      <a:pt x="208" y="40"/>
                    </a:lnTo>
                    <a:lnTo>
                      <a:pt x="217" y="40"/>
                    </a:lnTo>
                    <a:lnTo>
                      <a:pt x="229" y="40"/>
                    </a:lnTo>
                    <a:lnTo>
                      <a:pt x="229" y="28"/>
                    </a:lnTo>
                    <a:lnTo>
                      <a:pt x="208" y="28"/>
                    </a:lnTo>
                    <a:lnTo>
                      <a:pt x="186" y="40"/>
                    </a:lnTo>
                    <a:lnTo>
                      <a:pt x="174" y="14"/>
                    </a:lnTo>
                    <a:lnTo>
                      <a:pt x="162" y="0"/>
                    </a:lnTo>
                    <a:lnTo>
                      <a:pt x="153" y="28"/>
                    </a:lnTo>
                    <a:lnTo>
                      <a:pt x="140" y="28"/>
                    </a:lnTo>
                    <a:lnTo>
                      <a:pt x="119" y="40"/>
                    </a:lnTo>
                    <a:lnTo>
                      <a:pt x="109" y="40"/>
                    </a:lnTo>
                    <a:lnTo>
                      <a:pt x="85" y="2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4" name="Freeform 150">
                <a:extLst>
                  <a:ext uri="{FF2B5EF4-FFF2-40B4-BE49-F238E27FC236}">
                    <a16:creationId xmlns:a16="http://schemas.microsoft.com/office/drawing/2014/main" id="{0772E444-BB77-4D4A-9445-557115123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6925" y="2797775"/>
                <a:ext cx="450603" cy="211006"/>
              </a:xfrm>
              <a:custGeom>
                <a:avLst/>
                <a:gdLst/>
                <a:ahLst/>
                <a:cxnLst>
                  <a:cxn ang="0">
                    <a:pos x="285" y="28"/>
                  </a:cxn>
                  <a:cxn ang="0">
                    <a:pos x="300" y="54"/>
                  </a:cxn>
                  <a:cxn ang="0">
                    <a:pos x="322" y="54"/>
                  </a:cxn>
                  <a:cxn ang="0">
                    <a:pos x="310" y="64"/>
                  </a:cxn>
                  <a:cxn ang="0">
                    <a:pos x="331" y="119"/>
                  </a:cxn>
                  <a:cxn ang="0">
                    <a:pos x="300" y="119"/>
                  </a:cxn>
                  <a:cxn ang="0">
                    <a:pos x="285" y="119"/>
                  </a:cxn>
                  <a:cxn ang="0">
                    <a:pos x="255" y="130"/>
                  </a:cxn>
                  <a:cxn ang="0">
                    <a:pos x="233" y="130"/>
                  </a:cxn>
                  <a:cxn ang="0">
                    <a:pos x="221" y="130"/>
                  </a:cxn>
                  <a:cxn ang="0">
                    <a:pos x="187" y="130"/>
                  </a:cxn>
                  <a:cxn ang="0">
                    <a:pos x="187" y="140"/>
                  </a:cxn>
                  <a:cxn ang="0">
                    <a:pos x="178" y="155"/>
                  </a:cxn>
                  <a:cxn ang="0">
                    <a:pos x="178" y="130"/>
                  </a:cxn>
                  <a:cxn ang="0">
                    <a:pos x="169" y="140"/>
                  </a:cxn>
                  <a:cxn ang="0">
                    <a:pos x="153" y="130"/>
                  </a:cxn>
                  <a:cxn ang="0">
                    <a:pos x="131" y="140"/>
                  </a:cxn>
                  <a:cxn ang="0">
                    <a:pos x="123" y="155"/>
                  </a:cxn>
                  <a:cxn ang="0">
                    <a:pos x="101" y="130"/>
                  </a:cxn>
                  <a:cxn ang="0">
                    <a:pos x="92" y="130"/>
                  </a:cxn>
                  <a:cxn ang="0">
                    <a:pos x="76" y="140"/>
                  </a:cxn>
                  <a:cxn ang="0">
                    <a:pos x="67" y="140"/>
                  </a:cxn>
                  <a:cxn ang="0">
                    <a:pos x="34" y="130"/>
                  </a:cxn>
                  <a:cxn ang="0">
                    <a:pos x="46" y="130"/>
                  </a:cxn>
                  <a:cxn ang="0">
                    <a:pos x="24" y="130"/>
                  </a:cxn>
                  <a:cxn ang="0">
                    <a:pos x="34" y="119"/>
                  </a:cxn>
                  <a:cxn ang="0">
                    <a:pos x="24" y="119"/>
                  </a:cxn>
                  <a:cxn ang="0">
                    <a:pos x="24" y="104"/>
                  </a:cxn>
                  <a:cxn ang="0">
                    <a:pos x="12" y="90"/>
                  </a:cxn>
                  <a:cxn ang="0">
                    <a:pos x="24" y="90"/>
                  </a:cxn>
                  <a:cxn ang="0">
                    <a:pos x="12" y="64"/>
                  </a:cxn>
                  <a:cxn ang="0">
                    <a:pos x="0" y="64"/>
                  </a:cxn>
                  <a:cxn ang="0">
                    <a:pos x="0" y="54"/>
                  </a:cxn>
                  <a:cxn ang="0">
                    <a:pos x="12" y="54"/>
                  </a:cxn>
                  <a:cxn ang="0">
                    <a:pos x="56" y="54"/>
                  </a:cxn>
                  <a:cxn ang="0">
                    <a:pos x="46" y="40"/>
                  </a:cxn>
                  <a:cxn ang="0">
                    <a:pos x="56" y="40"/>
                  </a:cxn>
                  <a:cxn ang="0">
                    <a:pos x="46" y="28"/>
                  </a:cxn>
                  <a:cxn ang="0">
                    <a:pos x="24" y="28"/>
                  </a:cxn>
                  <a:cxn ang="0">
                    <a:pos x="0" y="54"/>
                  </a:cxn>
                  <a:cxn ang="0">
                    <a:pos x="12" y="40"/>
                  </a:cxn>
                  <a:cxn ang="0">
                    <a:pos x="0" y="40"/>
                  </a:cxn>
                  <a:cxn ang="0">
                    <a:pos x="0" y="14"/>
                  </a:cxn>
                  <a:cxn ang="0">
                    <a:pos x="34" y="14"/>
                  </a:cxn>
                  <a:cxn ang="0">
                    <a:pos x="46" y="28"/>
                  </a:cxn>
                  <a:cxn ang="0">
                    <a:pos x="67" y="28"/>
                  </a:cxn>
                  <a:cxn ang="0">
                    <a:pos x="92" y="28"/>
                  </a:cxn>
                  <a:cxn ang="0">
                    <a:pos x="123" y="0"/>
                  </a:cxn>
                  <a:cxn ang="0">
                    <a:pos x="144" y="0"/>
                  </a:cxn>
                  <a:cxn ang="0">
                    <a:pos x="187" y="28"/>
                  </a:cxn>
                  <a:cxn ang="0">
                    <a:pos x="233" y="28"/>
                  </a:cxn>
                  <a:cxn ang="0">
                    <a:pos x="263" y="14"/>
                  </a:cxn>
                  <a:cxn ang="0">
                    <a:pos x="285" y="14"/>
                  </a:cxn>
                  <a:cxn ang="0">
                    <a:pos x="285" y="28"/>
                  </a:cxn>
                </a:cxnLst>
                <a:rect l="0" t="0" r="r" b="b"/>
                <a:pathLst>
                  <a:path w="331" h="155">
                    <a:moveTo>
                      <a:pt x="285" y="28"/>
                    </a:moveTo>
                    <a:lnTo>
                      <a:pt x="300" y="54"/>
                    </a:lnTo>
                    <a:lnTo>
                      <a:pt x="322" y="54"/>
                    </a:lnTo>
                    <a:lnTo>
                      <a:pt x="310" y="64"/>
                    </a:lnTo>
                    <a:lnTo>
                      <a:pt x="331" y="119"/>
                    </a:lnTo>
                    <a:lnTo>
                      <a:pt x="300" y="119"/>
                    </a:lnTo>
                    <a:lnTo>
                      <a:pt x="285" y="119"/>
                    </a:lnTo>
                    <a:lnTo>
                      <a:pt x="255" y="130"/>
                    </a:lnTo>
                    <a:lnTo>
                      <a:pt x="233" y="130"/>
                    </a:lnTo>
                    <a:lnTo>
                      <a:pt x="221" y="130"/>
                    </a:lnTo>
                    <a:lnTo>
                      <a:pt x="187" y="130"/>
                    </a:lnTo>
                    <a:lnTo>
                      <a:pt x="187" y="140"/>
                    </a:lnTo>
                    <a:lnTo>
                      <a:pt x="178" y="155"/>
                    </a:lnTo>
                    <a:lnTo>
                      <a:pt x="178" y="130"/>
                    </a:lnTo>
                    <a:lnTo>
                      <a:pt x="169" y="140"/>
                    </a:lnTo>
                    <a:lnTo>
                      <a:pt x="153" y="130"/>
                    </a:lnTo>
                    <a:lnTo>
                      <a:pt x="131" y="140"/>
                    </a:lnTo>
                    <a:lnTo>
                      <a:pt x="123" y="155"/>
                    </a:lnTo>
                    <a:lnTo>
                      <a:pt x="101" y="130"/>
                    </a:lnTo>
                    <a:lnTo>
                      <a:pt x="92" y="130"/>
                    </a:lnTo>
                    <a:lnTo>
                      <a:pt x="76" y="140"/>
                    </a:lnTo>
                    <a:lnTo>
                      <a:pt x="67" y="140"/>
                    </a:lnTo>
                    <a:lnTo>
                      <a:pt x="34" y="130"/>
                    </a:lnTo>
                    <a:lnTo>
                      <a:pt x="46" y="130"/>
                    </a:lnTo>
                    <a:lnTo>
                      <a:pt x="24" y="130"/>
                    </a:lnTo>
                    <a:lnTo>
                      <a:pt x="34" y="119"/>
                    </a:lnTo>
                    <a:lnTo>
                      <a:pt x="24" y="119"/>
                    </a:lnTo>
                    <a:lnTo>
                      <a:pt x="24" y="104"/>
                    </a:lnTo>
                    <a:lnTo>
                      <a:pt x="12" y="90"/>
                    </a:lnTo>
                    <a:lnTo>
                      <a:pt x="24" y="90"/>
                    </a:lnTo>
                    <a:lnTo>
                      <a:pt x="12" y="64"/>
                    </a:lnTo>
                    <a:lnTo>
                      <a:pt x="0" y="64"/>
                    </a:lnTo>
                    <a:lnTo>
                      <a:pt x="0" y="54"/>
                    </a:lnTo>
                    <a:lnTo>
                      <a:pt x="12" y="54"/>
                    </a:lnTo>
                    <a:lnTo>
                      <a:pt x="56" y="54"/>
                    </a:lnTo>
                    <a:lnTo>
                      <a:pt x="46" y="40"/>
                    </a:lnTo>
                    <a:lnTo>
                      <a:pt x="56" y="40"/>
                    </a:lnTo>
                    <a:lnTo>
                      <a:pt x="46" y="28"/>
                    </a:lnTo>
                    <a:lnTo>
                      <a:pt x="24" y="28"/>
                    </a:lnTo>
                    <a:lnTo>
                      <a:pt x="0" y="54"/>
                    </a:lnTo>
                    <a:lnTo>
                      <a:pt x="12" y="40"/>
                    </a:lnTo>
                    <a:lnTo>
                      <a:pt x="0" y="40"/>
                    </a:lnTo>
                    <a:lnTo>
                      <a:pt x="0" y="14"/>
                    </a:lnTo>
                    <a:lnTo>
                      <a:pt x="34" y="14"/>
                    </a:lnTo>
                    <a:lnTo>
                      <a:pt x="46" y="28"/>
                    </a:lnTo>
                    <a:lnTo>
                      <a:pt x="67" y="28"/>
                    </a:lnTo>
                    <a:lnTo>
                      <a:pt x="92" y="28"/>
                    </a:lnTo>
                    <a:lnTo>
                      <a:pt x="123" y="0"/>
                    </a:lnTo>
                    <a:lnTo>
                      <a:pt x="144" y="0"/>
                    </a:lnTo>
                    <a:lnTo>
                      <a:pt x="187" y="28"/>
                    </a:lnTo>
                    <a:lnTo>
                      <a:pt x="233" y="28"/>
                    </a:lnTo>
                    <a:lnTo>
                      <a:pt x="263" y="14"/>
                    </a:lnTo>
                    <a:lnTo>
                      <a:pt x="285" y="14"/>
                    </a:lnTo>
                    <a:lnTo>
                      <a:pt x="285" y="2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5" name="Freeform 152">
                <a:extLst>
                  <a:ext uri="{FF2B5EF4-FFF2-40B4-BE49-F238E27FC236}">
                    <a16:creationId xmlns:a16="http://schemas.microsoft.com/office/drawing/2014/main" id="{4D649735-7A40-4A97-B640-D71C58749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0605" y="2961136"/>
                <a:ext cx="145663" cy="171527"/>
              </a:xfrm>
              <a:custGeom>
                <a:avLst/>
                <a:gdLst/>
                <a:ahLst/>
                <a:cxnLst>
                  <a:cxn ang="0">
                    <a:pos x="107" y="0"/>
                  </a:cxn>
                  <a:cxn ang="0">
                    <a:pos x="85" y="21"/>
                  </a:cxn>
                  <a:cxn ang="0">
                    <a:pos x="85" y="75"/>
                  </a:cxn>
                  <a:cxn ang="0">
                    <a:pos x="55" y="100"/>
                  </a:cxn>
                  <a:cxn ang="0">
                    <a:pos x="9" y="126"/>
                  </a:cxn>
                  <a:cxn ang="0">
                    <a:pos x="0" y="111"/>
                  </a:cxn>
                  <a:cxn ang="0">
                    <a:pos x="0" y="100"/>
                  </a:cxn>
                  <a:cxn ang="0">
                    <a:pos x="9" y="75"/>
                  </a:cxn>
                  <a:cxn ang="0">
                    <a:pos x="0" y="75"/>
                  </a:cxn>
                  <a:cxn ang="0">
                    <a:pos x="0" y="35"/>
                  </a:cxn>
                  <a:cxn ang="0">
                    <a:pos x="9" y="21"/>
                  </a:cxn>
                  <a:cxn ang="0">
                    <a:pos x="9" y="11"/>
                  </a:cxn>
                  <a:cxn ang="0">
                    <a:pos x="42" y="11"/>
                  </a:cxn>
                  <a:cxn ang="0">
                    <a:pos x="55" y="11"/>
                  </a:cxn>
                  <a:cxn ang="0">
                    <a:pos x="76" y="11"/>
                  </a:cxn>
                  <a:cxn ang="0">
                    <a:pos x="107" y="0"/>
                  </a:cxn>
                </a:cxnLst>
                <a:rect l="0" t="0" r="r" b="b"/>
                <a:pathLst>
                  <a:path w="107" h="126">
                    <a:moveTo>
                      <a:pt x="107" y="0"/>
                    </a:moveTo>
                    <a:lnTo>
                      <a:pt x="85" y="21"/>
                    </a:lnTo>
                    <a:lnTo>
                      <a:pt x="85" y="75"/>
                    </a:lnTo>
                    <a:lnTo>
                      <a:pt x="55" y="100"/>
                    </a:lnTo>
                    <a:lnTo>
                      <a:pt x="9" y="126"/>
                    </a:lnTo>
                    <a:lnTo>
                      <a:pt x="0" y="111"/>
                    </a:lnTo>
                    <a:lnTo>
                      <a:pt x="0" y="100"/>
                    </a:lnTo>
                    <a:lnTo>
                      <a:pt x="9" y="75"/>
                    </a:lnTo>
                    <a:lnTo>
                      <a:pt x="0" y="75"/>
                    </a:lnTo>
                    <a:lnTo>
                      <a:pt x="0" y="35"/>
                    </a:lnTo>
                    <a:lnTo>
                      <a:pt x="9" y="21"/>
                    </a:lnTo>
                    <a:lnTo>
                      <a:pt x="9" y="11"/>
                    </a:lnTo>
                    <a:lnTo>
                      <a:pt x="42" y="11"/>
                    </a:lnTo>
                    <a:lnTo>
                      <a:pt x="55" y="11"/>
                    </a:lnTo>
                    <a:lnTo>
                      <a:pt x="76" y="11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6" name="Freeform 154">
                <a:extLst>
                  <a:ext uri="{FF2B5EF4-FFF2-40B4-BE49-F238E27FC236}">
                    <a16:creationId xmlns:a16="http://schemas.microsoft.com/office/drawing/2014/main" id="{5F510E10-0B82-485F-A60C-453C5168B1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8353" y="3097268"/>
                <a:ext cx="103462" cy="123881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0" y="25"/>
                  </a:cxn>
                  <a:cxn ang="0">
                    <a:pos x="9" y="54"/>
                  </a:cxn>
                  <a:cxn ang="0">
                    <a:pos x="0" y="91"/>
                  </a:cxn>
                  <a:cxn ang="0">
                    <a:pos x="18" y="91"/>
                  </a:cxn>
                  <a:cxn ang="0">
                    <a:pos x="29" y="76"/>
                  </a:cxn>
                  <a:cxn ang="0">
                    <a:pos x="39" y="76"/>
                  </a:cxn>
                  <a:cxn ang="0">
                    <a:pos x="51" y="66"/>
                  </a:cxn>
                  <a:cxn ang="0">
                    <a:pos x="29" y="37"/>
                  </a:cxn>
                  <a:cxn ang="0">
                    <a:pos x="76" y="25"/>
                  </a:cxn>
                  <a:cxn ang="0">
                    <a:pos x="63" y="0"/>
                  </a:cxn>
                  <a:cxn ang="0">
                    <a:pos x="18" y="25"/>
                  </a:cxn>
                  <a:cxn ang="0">
                    <a:pos x="9" y="11"/>
                  </a:cxn>
                </a:cxnLst>
                <a:rect l="0" t="0" r="r" b="b"/>
                <a:pathLst>
                  <a:path w="76" h="91">
                    <a:moveTo>
                      <a:pt x="9" y="11"/>
                    </a:moveTo>
                    <a:lnTo>
                      <a:pt x="0" y="25"/>
                    </a:lnTo>
                    <a:lnTo>
                      <a:pt x="9" y="54"/>
                    </a:lnTo>
                    <a:lnTo>
                      <a:pt x="0" y="91"/>
                    </a:lnTo>
                    <a:lnTo>
                      <a:pt x="18" y="91"/>
                    </a:lnTo>
                    <a:lnTo>
                      <a:pt x="29" y="76"/>
                    </a:lnTo>
                    <a:lnTo>
                      <a:pt x="39" y="76"/>
                    </a:lnTo>
                    <a:lnTo>
                      <a:pt x="51" y="66"/>
                    </a:lnTo>
                    <a:lnTo>
                      <a:pt x="29" y="37"/>
                    </a:lnTo>
                    <a:lnTo>
                      <a:pt x="76" y="25"/>
                    </a:lnTo>
                    <a:lnTo>
                      <a:pt x="63" y="0"/>
                    </a:lnTo>
                    <a:lnTo>
                      <a:pt x="18" y="25"/>
                    </a:lnTo>
                    <a:lnTo>
                      <a:pt x="9" y="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7" name="Freeform 156">
                <a:extLst>
                  <a:ext uri="{FF2B5EF4-FFF2-40B4-BE49-F238E27FC236}">
                    <a16:creationId xmlns:a16="http://schemas.microsoft.com/office/drawing/2014/main" id="{F97CBA19-D3C7-42BD-ACF7-9F763995A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5479" y="2961136"/>
                <a:ext cx="236873" cy="274989"/>
              </a:xfrm>
              <a:custGeom>
                <a:avLst/>
                <a:gdLst/>
                <a:ahLst/>
                <a:cxnLst>
                  <a:cxn ang="0">
                    <a:pos x="97" y="0"/>
                  </a:cxn>
                  <a:cxn ang="0">
                    <a:pos x="67" y="0"/>
                  </a:cxn>
                  <a:cxn ang="0">
                    <a:pos x="51" y="0"/>
                  </a:cxn>
                  <a:cxn ang="0">
                    <a:pos x="30" y="21"/>
                  </a:cxn>
                  <a:cxn ang="0">
                    <a:pos x="30" y="75"/>
                  </a:cxn>
                  <a:cxn ang="0">
                    <a:pos x="0" y="100"/>
                  </a:cxn>
                  <a:cxn ang="0">
                    <a:pos x="12" y="126"/>
                  </a:cxn>
                  <a:cxn ang="0">
                    <a:pos x="30" y="137"/>
                  </a:cxn>
                  <a:cxn ang="0">
                    <a:pos x="76" y="166"/>
                  </a:cxn>
                  <a:cxn ang="0">
                    <a:pos x="89" y="166"/>
                  </a:cxn>
                  <a:cxn ang="0">
                    <a:pos x="89" y="190"/>
                  </a:cxn>
                  <a:cxn ang="0">
                    <a:pos x="106" y="202"/>
                  </a:cxn>
                  <a:cxn ang="0">
                    <a:pos x="119" y="190"/>
                  </a:cxn>
                  <a:cxn ang="0">
                    <a:pos x="143" y="202"/>
                  </a:cxn>
                  <a:cxn ang="0">
                    <a:pos x="153" y="176"/>
                  </a:cxn>
                  <a:cxn ang="0">
                    <a:pos x="174" y="176"/>
                  </a:cxn>
                  <a:cxn ang="0">
                    <a:pos x="153" y="154"/>
                  </a:cxn>
                  <a:cxn ang="0">
                    <a:pos x="153" y="111"/>
                  </a:cxn>
                  <a:cxn ang="0">
                    <a:pos x="119" y="100"/>
                  </a:cxn>
                  <a:cxn ang="0">
                    <a:pos x="106" y="75"/>
                  </a:cxn>
                  <a:cxn ang="0">
                    <a:pos x="119" y="47"/>
                  </a:cxn>
                  <a:cxn ang="0">
                    <a:pos x="97" y="0"/>
                  </a:cxn>
                </a:cxnLst>
                <a:rect l="0" t="0" r="r" b="b"/>
                <a:pathLst>
                  <a:path w="174" h="202">
                    <a:moveTo>
                      <a:pt x="97" y="0"/>
                    </a:moveTo>
                    <a:lnTo>
                      <a:pt x="67" y="0"/>
                    </a:lnTo>
                    <a:lnTo>
                      <a:pt x="51" y="0"/>
                    </a:lnTo>
                    <a:lnTo>
                      <a:pt x="30" y="21"/>
                    </a:lnTo>
                    <a:lnTo>
                      <a:pt x="30" y="75"/>
                    </a:lnTo>
                    <a:lnTo>
                      <a:pt x="0" y="100"/>
                    </a:lnTo>
                    <a:lnTo>
                      <a:pt x="12" y="126"/>
                    </a:lnTo>
                    <a:lnTo>
                      <a:pt x="30" y="137"/>
                    </a:lnTo>
                    <a:lnTo>
                      <a:pt x="76" y="166"/>
                    </a:lnTo>
                    <a:lnTo>
                      <a:pt x="89" y="166"/>
                    </a:lnTo>
                    <a:lnTo>
                      <a:pt x="89" y="190"/>
                    </a:lnTo>
                    <a:lnTo>
                      <a:pt x="106" y="202"/>
                    </a:lnTo>
                    <a:lnTo>
                      <a:pt x="119" y="190"/>
                    </a:lnTo>
                    <a:lnTo>
                      <a:pt x="143" y="202"/>
                    </a:lnTo>
                    <a:lnTo>
                      <a:pt x="153" y="176"/>
                    </a:lnTo>
                    <a:lnTo>
                      <a:pt x="174" y="176"/>
                    </a:lnTo>
                    <a:lnTo>
                      <a:pt x="153" y="154"/>
                    </a:lnTo>
                    <a:lnTo>
                      <a:pt x="153" y="111"/>
                    </a:lnTo>
                    <a:lnTo>
                      <a:pt x="119" y="100"/>
                    </a:lnTo>
                    <a:lnTo>
                      <a:pt x="106" y="75"/>
                    </a:lnTo>
                    <a:lnTo>
                      <a:pt x="119" y="47"/>
                    </a:lnTo>
                    <a:lnTo>
                      <a:pt x="97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8" name="Freeform 386">
                <a:extLst>
                  <a:ext uri="{FF2B5EF4-FFF2-40B4-BE49-F238E27FC236}">
                    <a16:creationId xmlns:a16="http://schemas.microsoft.com/office/drawing/2014/main" id="{5BCEBD85-ECD5-4A8F-BFF8-AECA85CC6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5211" y="3097268"/>
                <a:ext cx="35395" cy="123881"/>
              </a:xfrm>
              <a:custGeom>
                <a:avLst/>
                <a:gdLst/>
                <a:ahLst/>
                <a:cxnLst>
                  <a:cxn ang="0">
                    <a:pos x="26" y="11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0" y="37"/>
                  </a:cxn>
                  <a:cxn ang="0">
                    <a:pos x="0" y="54"/>
                  </a:cxn>
                  <a:cxn ang="0">
                    <a:pos x="16" y="91"/>
                  </a:cxn>
                  <a:cxn ang="0">
                    <a:pos x="26" y="54"/>
                  </a:cxn>
                  <a:cxn ang="0">
                    <a:pos x="16" y="25"/>
                  </a:cxn>
                  <a:cxn ang="0">
                    <a:pos x="26" y="11"/>
                  </a:cxn>
                </a:cxnLst>
                <a:rect l="0" t="0" r="r" b="b"/>
                <a:pathLst>
                  <a:path w="26" h="91">
                    <a:moveTo>
                      <a:pt x="26" y="11"/>
                    </a:moveTo>
                    <a:lnTo>
                      <a:pt x="26" y="0"/>
                    </a:lnTo>
                    <a:lnTo>
                      <a:pt x="16" y="0"/>
                    </a:lnTo>
                    <a:lnTo>
                      <a:pt x="0" y="37"/>
                    </a:lnTo>
                    <a:lnTo>
                      <a:pt x="0" y="54"/>
                    </a:lnTo>
                    <a:lnTo>
                      <a:pt x="16" y="91"/>
                    </a:lnTo>
                    <a:lnTo>
                      <a:pt x="26" y="54"/>
                    </a:lnTo>
                    <a:lnTo>
                      <a:pt x="16" y="25"/>
                    </a:lnTo>
                    <a:lnTo>
                      <a:pt x="26" y="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9" name="Freeform 387">
                <a:extLst>
                  <a:ext uri="{FF2B5EF4-FFF2-40B4-BE49-F238E27FC236}">
                    <a16:creationId xmlns:a16="http://schemas.microsoft.com/office/drawing/2014/main" id="{A3DFEED5-477C-4CE0-9448-43E99DE465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8009" y="3008775"/>
                <a:ext cx="57176" cy="39479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42" y="0"/>
                  </a:cxn>
                  <a:cxn ang="0">
                    <a:pos x="32" y="11"/>
                  </a:cxn>
                  <a:cxn ang="0">
                    <a:pos x="32" y="29"/>
                  </a:cxn>
                  <a:cxn ang="0">
                    <a:pos x="20" y="29"/>
                  </a:cxn>
                  <a:cxn ang="0">
                    <a:pos x="12" y="29"/>
                  </a:cxn>
                  <a:cxn ang="0">
                    <a:pos x="0" y="29"/>
                  </a:cxn>
                </a:cxnLst>
                <a:rect l="0" t="0" r="r" b="b"/>
                <a:pathLst>
                  <a:path w="42" h="29">
                    <a:moveTo>
                      <a:pt x="0" y="29"/>
                    </a:moveTo>
                    <a:lnTo>
                      <a:pt x="42" y="0"/>
                    </a:lnTo>
                    <a:lnTo>
                      <a:pt x="32" y="11"/>
                    </a:lnTo>
                    <a:lnTo>
                      <a:pt x="32" y="29"/>
                    </a:lnTo>
                    <a:lnTo>
                      <a:pt x="20" y="29"/>
                    </a:lnTo>
                    <a:lnTo>
                      <a:pt x="12" y="2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0" name="Freeform 70">
                <a:extLst>
                  <a:ext uri="{FF2B5EF4-FFF2-40B4-BE49-F238E27FC236}">
                    <a16:creationId xmlns:a16="http://schemas.microsoft.com/office/drawing/2014/main" id="{602E1897-86BF-4842-9BEF-BC9F28529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5479" y="2763743"/>
                <a:ext cx="145663" cy="70789"/>
              </a:xfrm>
              <a:custGeom>
                <a:avLst/>
                <a:gdLst/>
                <a:ahLst/>
                <a:cxnLst>
                  <a:cxn ang="0">
                    <a:pos x="89" y="52"/>
                  </a:cxn>
                  <a:cxn ang="0">
                    <a:pos x="51" y="52"/>
                  </a:cxn>
                  <a:cxn ang="0">
                    <a:pos x="51" y="38"/>
                  </a:cxn>
                  <a:cxn ang="0">
                    <a:pos x="30" y="38"/>
                  </a:cxn>
                  <a:cxn ang="0">
                    <a:pos x="30" y="24"/>
                  </a:cxn>
                  <a:cxn ang="0">
                    <a:pos x="12" y="10"/>
                  </a:cxn>
                  <a:cxn ang="0">
                    <a:pos x="0" y="0"/>
                  </a:cxn>
                  <a:cxn ang="0">
                    <a:pos x="42" y="0"/>
                  </a:cxn>
                  <a:cxn ang="0">
                    <a:pos x="67" y="10"/>
                  </a:cxn>
                  <a:cxn ang="0">
                    <a:pos x="89" y="10"/>
                  </a:cxn>
                  <a:cxn ang="0">
                    <a:pos x="107" y="38"/>
                  </a:cxn>
                  <a:cxn ang="0">
                    <a:pos x="89" y="38"/>
                  </a:cxn>
                  <a:cxn ang="0">
                    <a:pos x="89" y="52"/>
                  </a:cxn>
                </a:cxnLst>
                <a:rect l="0" t="0" r="r" b="b"/>
                <a:pathLst>
                  <a:path w="107" h="52">
                    <a:moveTo>
                      <a:pt x="89" y="52"/>
                    </a:moveTo>
                    <a:lnTo>
                      <a:pt x="51" y="52"/>
                    </a:lnTo>
                    <a:lnTo>
                      <a:pt x="51" y="38"/>
                    </a:lnTo>
                    <a:lnTo>
                      <a:pt x="30" y="38"/>
                    </a:lnTo>
                    <a:lnTo>
                      <a:pt x="30" y="24"/>
                    </a:lnTo>
                    <a:lnTo>
                      <a:pt x="12" y="10"/>
                    </a:lnTo>
                    <a:lnTo>
                      <a:pt x="0" y="0"/>
                    </a:lnTo>
                    <a:lnTo>
                      <a:pt x="42" y="0"/>
                    </a:lnTo>
                    <a:lnTo>
                      <a:pt x="67" y="10"/>
                    </a:lnTo>
                    <a:lnTo>
                      <a:pt x="89" y="10"/>
                    </a:lnTo>
                    <a:lnTo>
                      <a:pt x="107" y="38"/>
                    </a:lnTo>
                    <a:lnTo>
                      <a:pt x="89" y="38"/>
                    </a:lnTo>
                    <a:lnTo>
                      <a:pt x="89" y="5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1" name="Freeform 72">
                <a:extLst>
                  <a:ext uri="{FF2B5EF4-FFF2-40B4-BE49-F238E27FC236}">
                    <a16:creationId xmlns:a16="http://schemas.microsoft.com/office/drawing/2014/main" id="{65C307E9-71AA-4A15-A986-069F0035A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269" y="2835894"/>
                <a:ext cx="91209" cy="63983"/>
              </a:xfrm>
              <a:custGeom>
                <a:avLst/>
                <a:gdLst/>
                <a:ahLst/>
                <a:cxnLst>
                  <a:cxn ang="0">
                    <a:pos x="37" y="25"/>
                  </a:cxn>
                  <a:cxn ang="0">
                    <a:pos x="45" y="35"/>
                  </a:cxn>
                  <a:cxn ang="0">
                    <a:pos x="54" y="47"/>
                  </a:cxn>
                  <a:cxn ang="0">
                    <a:pos x="67" y="47"/>
                  </a:cxn>
                  <a:cxn ang="0">
                    <a:pos x="54" y="25"/>
                  </a:cxn>
                  <a:cxn ang="0">
                    <a:pos x="45" y="25"/>
                  </a:cxn>
                  <a:cxn ang="0">
                    <a:pos x="45" y="11"/>
                  </a:cxn>
                  <a:cxn ang="0">
                    <a:pos x="37" y="0"/>
                  </a:cxn>
                  <a:cxn ang="0">
                    <a:pos x="0" y="0"/>
                  </a:cxn>
                  <a:cxn ang="0">
                    <a:pos x="15" y="25"/>
                  </a:cxn>
                  <a:cxn ang="0">
                    <a:pos x="37" y="25"/>
                  </a:cxn>
                </a:cxnLst>
                <a:rect l="0" t="0" r="r" b="b"/>
                <a:pathLst>
                  <a:path w="67" h="47">
                    <a:moveTo>
                      <a:pt x="37" y="25"/>
                    </a:moveTo>
                    <a:lnTo>
                      <a:pt x="45" y="35"/>
                    </a:lnTo>
                    <a:lnTo>
                      <a:pt x="54" y="47"/>
                    </a:lnTo>
                    <a:lnTo>
                      <a:pt x="67" y="47"/>
                    </a:lnTo>
                    <a:lnTo>
                      <a:pt x="54" y="25"/>
                    </a:lnTo>
                    <a:lnTo>
                      <a:pt x="45" y="25"/>
                    </a:lnTo>
                    <a:lnTo>
                      <a:pt x="45" y="11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15" y="25"/>
                    </a:lnTo>
                    <a:lnTo>
                      <a:pt x="37" y="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2" name="Freeform 108">
                <a:extLst>
                  <a:ext uri="{FF2B5EF4-FFF2-40B4-BE49-F238E27FC236}">
                    <a16:creationId xmlns:a16="http://schemas.microsoft.com/office/drawing/2014/main" id="{80C5688F-FE30-4695-85D2-32B3F3E32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1532" y="4209478"/>
                <a:ext cx="250486" cy="295409"/>
              </a:xfrm>
              <a:custGeom>
                <a:avLst/>
                <a:gdLst/>
                <a:ahLst/>
                <a:cxnLst>
                  <a:cxn ang="0">
                    <a:pos x="184" y="217"/>
                  </a:cxn>
                  <a:cxn ang="0">
                    <a:pos x="184" y="60"/>
                  </a:cxn>
                  <a:cxn ang="0">
                    <a:pos x="131" y="36"/>
                  </a:cxn>
                  <a:cxn ang="0">
                    <a:pos x="107" y="46"/>
                  </a:cxn>
                  <a:cxn ang="0">
                    <a:pos x="85" y="72"/>
                  </a:cxn>
                  <a:cxn ang="0">
                    <a:pos x="76" y="72"/>
                  </a:cxn>
                  <a:cxn ang="0">
                    <a:pos x="64" y="46"/>
                  </a:cxn>
                  <a:cxn ang="0">
                    <a:pos x="52" y="10"/>
                  </a:cxn>
                  <a:cxn ang="0">
                    <a:pos x="43" y="10"/>
                  </a:cxn>
                  <a:cxn ang="0">
                    <a:pos x="43" y="0"/>
                  </a:cxn>
                  <a:cxn ang="0">
                    <a:pos x="21" y="0"/>
                  </a:cxn>
                  <a:cxn ang="0">
                    <a:pos x="0" y="21"/>
                  </a:cxn>
                  <a:cxn ang="0">
                    <a:pos x="21" y="36"/>
                  </a:cxn>
                  <a:cxn ang="0">
                    <a:pos x="21" y="46"/>
                  </a:cxn>
                  <a:cxn ang="0">
                    <a:pos x="52" y="46"/>
                  </a:cxn>
                  <a:cxn ang="0">
                    <a:pos x="52" y="60"/>
                  </a:cxn>
                  <a:cxn ang="0">
                    <a:pos x="21" y="60"/>
                  </a:cxn>
                  <a:cxn ang="0">
                    <a:pos x="31" y="72"/>
                  </a:cxn>
                  <a:cxn ang="0">
                    <a:pos x="31" y="86"/>
                  </a:cxn>
                  <a:cxn ang="0">
                    <a:pos x="43" y="86"/>
                  </a:cxn>
                  <a:cxn ang="0">
                    <a:pos x="52" y="72"/>
                  </a:cxn>
                  <a:cxn ang="0">
                    <a:pos x="76" y="101"/>
                  </a:cxn>
                  <a:cxn ang="0">
                    <a:pos x="119" y="111"/>
                  </a:cxn>
                  <a:cxn ang="0">
                    <a:pos x="131" y="127"/>
                  </a:cxn>
                  <a:cxn ang="0">
                    <a:pos x="140" y="177"/>
                  </a:cxn>
                  <a:cxn ang="0">
                    <a:pos x="131" y="177"/>
                  </a:cxn>
                  <a:cxn ang="0">
                    <a:pos x="119" y="202"/>
                  </a:cxn>
                  <a:cxn ang="0">
                    <a:pos x="162" y="192"/>
                  </a:cxn>
                  <a:cxn ang="0">
                    <a:pos x="184" y="217"/>
                  </a:cxn>
                </a:cxnLst>
                <a:rect l="0" t="0" r="r" b="b"/>
                <a:pathLst>
                  <a:path w="184" h="217">
                    <a:moveTo>
                      <a:pt x="184" y="217"/>
                    </a:moveTo>
                    <a:lnTo>
                      <a:pt x="184" y="60"/>
                    </a:lnTo>
                    <a:lnTo>
                      <a:pt x="131" y="36"/>
                    </a:lnTo>
                    <a:lnTo>
                      <a:pt x="107" y="46"/>
                    </a:lnTo>
                    <a:lnTo>
                      <a:pt x="85" y="72"/>
                    </a:lnTo>
                    <a:lnTo>
                      <a:pt x="76" y="72"/>
                    </a:lnTo>
                    <a:lnTo>
                      <a:pt x="64" y="46"/>
                    </a:lnTo>
                    <a:lnTo>
                      <a:pt x="52" y="10"/>
                    </a:lnTo>
                    <a:lnTo>
                      <a:pt x="43" y="10"/>
                    </a:lnTo>
                    <a:lnTo>
                      <a:pt x="43" y="0"/>
                    </a:lnTo>
                    <a:lnTo>
                      <a:pt x="21" y="0"/>
                    </a:lnTo>
                    <a:lnTo>
                      <a:pt x="0" y="21"/>
                    </a:lnTo>
                    <a:lnTo>
                      <a:pt x="21" y="36"/>
                    </a:lnTo>
                    <a:lnTo>
                      <a:pt x="21" y="46"/>
                    </a:lnTo>
                    <a:lnTo>
                      <a:pt x="52" y="46"/>
                    </a:lnTo>
                    <a:lnTo>
                      <a:pt x="52" y="60"/>
                    </a:lnTo>
                    <a:lnTo>
                      <a:pt x="21" y="60"/>
                    </a:lnTo>
                    <a:lnTo>
                      <a:pt x="31" y="72"/>
                    </a:lnTo>
                    <a:lnTo>
                      <a:pt x="31" y="86"/>
                    </a:lnTo>
                    <a:lnTo>
                      <a:pt x="43" y="86"/>
                    </a:lnTo>
                    <a:lnTo>
                      <a:pt x="52" y="72"/>
                    </a:lnTo>
                    <a:lnTo>
                      <a:pt x="76" y="101"/>
                    </a:lnTo>
                    <a:lnTo>
                      <a:pt x="119" y="111"/>
                    </a:lnTo>
                    <a:lnTo>
                      <a:pt x="131" y="127"/>
                    </a:lnTo>
                    <a:lnTo>
                      <a:pt x="140" y="177"/>
                    </a:lnTo>
                    <a:lnTo>
                      <a:pt x="131" y="177"/>
                    </a:lnTo>
                    <a:lnTo>
                      <a:pt x="119" y="202"/>
                    </a:lnTo>
                    <a:lnTo>
                      <a:pt x="162" y="192"/>
                    </a:lnTo>
                    <a:lnTo>
                      <a:pt x="184" y="21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3" name="Freeform 110">
                <a:extLst>
                  <a:ext uri="{FF2B5EF4-FFF2-40B4-BE49-F238E27FC236}">
                    <a16:creationId xmlns:a16="http://schemas.microsoft.com/office/drawing/2014/main" id="{094F539D-4D37-4108-9847-216D93B0A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2018" y="4292519"/>
                <a:ext cx="228705" cy="2654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54"/>
                  </a:cxn>
                  <a:cxn ang="0">
                    <a:pos x="23" y="154"/>
                  </a:cxn>
                  <a:cxn ang="0">
                    <a:pos x="33" y="140"/>
                  </a:cxn>
                  <a:cxn ang="0">
                    <a:pos x="54" y="114"/>
                  </a:cxn>
                  <a:cxn ang="0">
                    <a:pos x="67" y="114"/>
                  </a:cxn>
                  <a:cxn ang="0">
                    <a:pos x="91" y="130"/>
                  </a:cxn>
                  <a:cxn ang="0">
                    <a:pos x="109" y="176"/>
                  </a:cxn>
                  <a:cxn ang="0">
                    <a:pos x="143" y="176"/>
                  </a:cxn>
                  <a:cxn ang="0">
                    <a:pos x="155" y="195"/>
                  </a:cxn>
                  <a:cxn ang="0">
                    <a:pos x="168" y="195"/>
                  </a:cxn>
                  <a:cxn ang="0">
                    <a:pos x="168" y="176"/>
                  </a:cxn>
                  <a:cxn ang="0">
                    <a:pos x="155" y="166"/>
                  </a:cxn>
                  <a:cxn ang="0">
                    <a:pos x="143" y="166"/>
                  </a:cxn>
                  <a:cxn ang="0">
                    <a:pos x="143" y="154"/>
                  </a:cxn>
                  <a:cxn ang="0">
                    <a:pos x="131" y="154"/>
                  </a:cxn>
                  <a:cxn ang="0">
                    <a:pos x="122" y="130"/>
                  </a:cxn>
                  <a:cxn ang="0">
                    <a:pos x="109" y="114"/>
                  </a:cxn>
                  <a:cxn ang="0">
                    <a:pos x="109" y="104"/>
                  </a:cxn>
                  <a:cxn ang="0">
                    <a:pos x="122" y="86"/>
                  </a:cxn>
                  <a:cxn ang="0">
                    <a:pos x="122" y="75"/>
                  </a:cxn>
                  <a:cxn ang="0">
                    <a:pos x="109" y="75"/>
                  </a:cxn>
                  <a:cxn ang="0">
                    <a:pos x="91" y="64"/>
                  </a:cxn>
                  <a:cxn ang="0">
                    <a:pos x="75" y="40"/>
                  </a:cxn>
                  <a:cxn ang="0">
                    <a:pos x="45" y="11"/>
                  </a:cxn>
                  <a:cxn ang="0">
                    <a:pos x="0" y="0"/>
                  </a:cxn>
                </a:cxnLst>
                <a:rect l="0" t="0" r="r" b="b"/>
                <a:pathLst>
                  <a:path w="168" h="195">
                    <a:moveTo>
                      <a:pt x="0" y="0"/>
                    </a:moveTo>
                    <a:lnTo>
                      <a:pt x="0" y="154"/>
                    </a:lnTo>
                    <a:lnTo>
                      <a:pt x="23" y="154"/>
                    </a:lnTo>
                    <a:lnTo>
                      <a:pt x="33" y="140"/>
                    </a:lnTo>
                    <a:lnTo>
                      <a:pt x="54" y="114"/>
                    </a:lnTo>
                    <a:lnTo>
                      <a:pt x="67" y="114"/>
                    </a:lnTo>
                    <a:lnTo>
                      <a:pt x="91" y="130"/>
                    </a:lnTo>
                    <a:lnTo>
                      <a:pt x="109" y="176"/>
                    </a:lnTo>
                    <a:lnTo>
                      <a:pt x="143" y="176"/>
                    </a:lnTo>
                    <a:lnTo>
                      <a:pt x="155" y="195"/>
                    </a:lnTo>
                    <a:lnTo>
                      <a:pt x="168" y="195"/>
                    </a:lnTo>
                    <a:lnTo>
                      <a:pt x="168" y="176"/>
                    </a:lnTo>
                    <a:lnTo>
                      <a:pt x="155" y="166"/>
                    </a:lnTo>
                    <a:lnTo>
                      <a:pt x="143" y="166"/>
                    </a:lnTo>
                    <a:lnTo>
                      <a:pt x="143" y="154"/>
                    </a:lnTo>
                    <a:lnTo>
                      <a:pt x="131" y="154"/>
                    </a:lnTo>
                    <a:lnTo>
                      <a:pt x="122" y="130"/>
                    </a:lnTo>
                    <a:lnTo>
                      <a:pt x="109" y="114"/>
                    </a:lnTo>
                    <a:lnTo>
                      <a:pt x="109" y="104"/>
                    </a:lnTo>
                    <a:lnTo>
                      <a:pt x="122" y="86"/>
                    </a:lnTo>
                    <a:lnTo>
                      <a:pt x="122" y="75"/>
                    </a:lnTo>
                    <a:lnTo>
                      <a:pt x="109" y="75"/>
                    </a:lnTo>
                    <a:lnTo>
                      <a:pt x="91" y="64"/>
                    </a:lnTo>
                    <a:lnTo>
                      <a:pt x="75" y="40"/>
                    </a:lnTo>
                    <a:lnTo>
                      <a:pt x="45" y="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4" name="Freeform 112">
                <a:extLst>
                  <a:ext uri="{FF2B5EF4-FFF2-40B4-BE49-F238E27FC236}">
                    <a16:creationId xmlns:a16="http://schemas.microsoft.com/office/drawing/2014/main" id="{432683E5-71DA-437B-9352-EE8E13A6EE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9720" y="4061092"/>
                <a:ext cx="236873" cy="285880"/>
              </a:xfrm>
              <a:custGeom>
                <a:avLst/>
                <a:gdLst/>
                <a:ahLst/>
                <a:cxnLst>
                  <a:cxn ang="0">
                    <a:pos x="134" y="0"/>
                  </a:cxn>
                  <a:cxn ang="0">
                    <a:pos x="152" y="0"/>
                  </a:cxn>
                  <a:cxn ang="0">
                    <a:pos x="152" y="28"/>
                  </a:cxn>
                  <a:cxn ang="0">
                    <a:pos x="164" y="40"/>
                  </a:cxn>
                  <a:cxn ang="0">
                    <a:pos x="152" y="54"/>
                  </a:cxn>
                  <a:cxn ang="0">
                    <a:pos x="174" y="80"/>
                  </a:cxn>
                  <a:cxn ang="0">
                    <a:pos x="164" y="80"/>
                  </a:cxn>
                  <a:cxn ang="0">
                    <a:pos x="142" y="130"/>
                  </a:cxn>
                  <a:cxn ang="0">
                    <a:pos x="134" y="145"/>
                  </a:cxn>
                  <a:cxn ang="0">
                    <a:pos x="134" y="155"/>
                  </a:cxn>
                  <a:cxn ang="0">
                    <a:pos x="134" y="181"/>
                  </a:cxn>
                  <a:cxn ang="0">
                    <a:pos x="109" y="195"/>
                  </a:cxn>
                  <a:cxn ang="0">
                    <a:pos x="97" y="210"/>
                  </a:cxn>
                  <a:cxn ang="0">
                    <a:pos x="88" y="181"/>
                  </a:cxn>
                  <a:cxn ang="0">
                    <a:pos x="75" y="181"/>
                  </a:cxn>
                  <a:cxn ang="0">
                    <a:pos x="42" y="181"/>
                  </a:cxn>
                  <a:cxn ang="0">
                    <a:pos x="42" y="169"/>
                  </a:cxn>
                  <a:cxn ang="0">
                    <a:pos x="20" y="169"/>
                  </a:cxn>
                  <a:cxn ang="0">
                    <a:pos x="11" y="130"/>
                  </a:cxn>
                  <a:cxn ang="0">
                    <a:pos x="0" y="119"/>
                  </a:cxn>
                  <a:cxn ang="0">
                    <a:pos x="0" y="80"/>
                  </a:cxn>
                  <a:cxn ang="0">
                    <a:pos x="11" y="54"/>
                  </a:cxn>
                  <a:cxn ang="0">
                    <a:pos x="20" y="80"/>
                  </a:cxn>
                  <a:cxn ang="0">
                    <a:pos x="42" y="80"/>
                  </a:cxn>
                  <a:cxn ang="0">
                    <a:pos x="58" y="64"/>
                  </a:cxn>
                  <a:cxn ang="0">
                    <a:pos x="75" y="80"/>
                  </a:cxn>
                  <a:cxn ang="0">
                    <a:pos x="97" y="64"/>
                  </a:cxn>
                  <a:cxn ang="0">
                    <a:pos x="122" y="0"/>
                  </a:cxn>
                  <a:cxn ang="0">
                    <a:pos x="134" y="0"/>
                  </a:cxn>
                </a:cxnLst>
                <a:rect l="0" t="0" r="r" b="b"/>
                <a:pathLst>
                  <a:path w="174" h="210">
                    <a:moveTo>
                      <a:pt x="134" y="0"/>
                    </a:moveTo>
                    <a:lnTo>
                      <a:pt x="152" y="0"/>
                    </a:lnTo>
                    <a:lnTo>
                      <a:pt x="152" y="28"/>
                    </a:lnTo>
                    <a:lnTo>
                      <a:pt x="164" y="40"/>
                    </a:lnTo>
                    <a:lnTo>
                      <a:pt x="152" y="54"/>
                    </a:lnTo>
                    <a:lnTo>
                      <a:pt x="174" y="80"/>
                    </a:lnTo>
                    <a:lnTo>
                      <a:pt x="164" y="80"/>
                    </a:lnTo>
                    <a:lnTo>
                      <a:pt x="142" y="130"/>
                    </a:lnTo>
                    <a:lnTo>
                      <a:pt x="134" y="145"/>
                    </a:lnTo>
                    <a:lnTo>
                      <a:pt x="134" y="155"/>
                    </a:lnTo>
                    <a:lnTo>
                      <a:pt x="134" y="181"/>
                    </a:lnTo>
                    <a:lnTo>
                      <a:pt x="109" y="195"/>
                    </a:lnTo>
                    <a:lnTo>
                      <a:pt x="97" y="210"/>
                    </a:lnTo>
                    <a:lnTo>
                      <a:pt x="88" y="181"/>
                    </a:lnTo>
                    <a:lnTo>
                      <a:pt x="75" y="181"/>
                    </a:lnTo>
                    <a:lnTo>
                      <a:pt x="42" y="181"/>
                    </a:lnTo>
                    <a:lnTo>
                      <a:pt x="42" y="169"/>
                    </a:lnTo>
                    <a:lnTo>
                      <a:pt x="20" y="169"/>
                    </a:lnTo>
                    <a:lnTo>
                      <a:pt x="11" y="130"/>
                    </a:lnTo>
                    <a:lnTo>
                      <a:pt x="0" y="119"/>
                    </a:lnTo>
                    <a:lnTo>
                      <a:pt x="0" y="80"/>
                    </a:lnTo>
                    <a:lnTo>
                      <a:pt x="11" y="54"/>
                    </a:lnTo>
                    <a:lnTo>
                      <a:pt x="20" y="80"/>
                    </a:lnTo>
                    <a:lnTo>
                      <a:pt x="42" y="80"/>
                    </a:lnTo>
                    <a:lnTo>
                      <a:pt x="58" y="64"/>
                    </a:lnTo>
                    <a:lnTo>
                      <a:pt x="75" y="80"/>
                    </a:lnTo>
                    <a:lnTo>
                      <a:pt x="97" y="64"/>
                    </a:lnTo>
                    <a:lnTo>
                      <a:pt x="122" y="0"/>
                    </a:lnTo>
                    <a:lnTo>
                      <a:pt x="134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5" name="Freeform 114">
                <a:extLst>
                  <a:ext uri="{FF2B5EF4-FFF2-40B4-BE49-F238E27FC236}">
                    <a16:creationId xmlns:a16="http://schemas.microsoft.com/office/drawing/2014/main" id="{A9DEE7C0-BCE0-4125-A68C-5A09173747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6056" y="3978051"/>
                <a:ext cx="242318" cy="191948"/>
              </a:xfrm>
              <a:custGeom>
                <a:avLst/>
                <a:gdLst/>
                <a:ahLst/>
                <a:cxnLst>
                  <a:cxn ang="0">
                    <a:pos x="162" y="50"/>
                  </a:cxn>
                  <a:cxn ang="0">
                    <a:pos x="140" y="60"/>
                  </a:cxn>
                  <a:cxn ang="0">
                    <a:pos x="123" y="60"/>
                  </a:cxn>
                  <a:cxn ang="0">
                    <a:pos x="110" y="60"/>
                  </a:cxn>
                  <a:cxn ang="0">
                    <a:pos x="85" y="125"/>
                  </a:cxn>
                  <a:cxn ang="0">
                    <a:pos x="64" y="141"/>
                  </a:cxn>
                  <a:cxn ang="0">
                    <a:pos x="46" y="125"/>
                  </a:cxn>
                  <a:cxn ang="0">
                    <a:pos x="31" y="141"/>
                  </a:cxn>
                  <a:cxn ang="0">
                    <a:pos x="9" y="141"/>
                  </a:cxn>
                  <a:cxn ang="0">
                    <a:pos x="0" y="115"/>
                  </a:cxn>
                  <a:cxn ang="0">
                    <a:pos x="21" y="125"/>
                  </a:cxn>
                  <a:cxn ang="0">
                    <a:pos x="31" y="89"/>
                  </a:cxn>
                  <a:cxn ang="0">
                    <a:pos x="55" y="89"/>
                  </a:cxn>
                  <a:cxn ang="0">
                    <a:pos x="76" y="50"/>
                  </a:cxn>
                  <a:cxn ang="0">
                    <a:pos x="85" y="60"/>
                  </a:cxn>
                  <a:cxn ang="0">
                    <a:pos x="98" y="60"/>
                  </a:cxn>
                  <a:cxn ang="0">
                    <a:pos x="98" y="50"/>
                  </a:cxn>
                  <a:cxn ang="0">
                    <a:pos x="98" y="36"/>
                  </a:cxn>
                  <a:cxn ang="0">
                    <a:pos x="131" y="0"/>
                  </a:cxn>
                  <a:cxn ang="0">
                    <a:pos x="140" y="14"/>
                  </a:cxn>
                  <a:cxn ang="0">
                    <a:pos x="140" y="24"/>
                  </a:cxn>
                  <a:cxn ang="0">
                    <a:pos x="178" y="36"/>
                  </a:cxn>
                  <a:cxn ang="0">
                    <a:pos x="153" y="50"/>
                  </a:cxn>
                  <a:cxn ang="0">
                    <a:pos x="162" y="50"/>
                  </a:cxn>
                </a:cxnLst>
                <a:rect l="0" t="0" r="r" b="b"/>
                <a:pathLst>
                  <a:path w="178" h="141">
                    <a:moveTo>
                      <a:pt x="162" y="50"/>
                    </a:moveTo>
                    <a:lnTo>
                      <a:pt x="140" y="60"/>
                    </a:lnTo>
                    <a:lnTo>
                      <a:pt x="123" y="60"/>
                    </a:lnTo>
                    <a:lnTo>
                      <a:pt x="110" y="60"/>
                    </a:lnTo>
                    <a:lnTo>
                      <a:pt x="85" y="125"/>
                    </a:lnTo>
                    <a:lnTo>
                      <a:pt x="64" y="141"/>
                    </a:lnTo>
                    <a:lnTo>
                      <a:pt x="46" y="125"/>
                    </a:lnTo>
                    <a:lnTo>
                      <a:pt x="31" y="141"/>
                    </a:lnTo>
                    <a:lnTo>
                      <a:pt x="9" y="141"/>
                    </a:lnTo>
                    <a:lnTo>
                      <a:pt x="0" y="115"/>
                    </a:lnTo>
                    <a:lnTo>
                      <a:pt x="21" y="125"/>
                    </a:lnTo>
                    <a:lnTo>
                      <a:pt x="31" y="89"/>
                    </a:lnTo>
                    <a:lnTo>
                      <a:pt x="55" y="89"/>
                    </a:lnTo>
                    <a:lnTo>
                      <a:pt x="76" y="50"/>
                    </a:lnTo>
                    <a:lnTo>
                      <a:pt x="85" y="60"/>
                    </a:lnTo>
                    <a:lnTo>
                      <a:pt x="98" y="60"/>
                    </a:lnTo>
                    <a:lnTo>
                      <a:pt x="98" y="50"/>
                    </a:lnTo>
                    <a:lnTo>
                      <a:pt x="98" y="36"/>
                    </a:lnTo>
                    <a:lnTo>
                      <a:pt x="131" y="0"/>
                    </a:lnTo>
                    <a:lnTo>
                      <a:pt x="140" y="14"/>
                    </a:lnTo>
                    <a:lnTo>
                      <a:pt x="140" y="24"/>
                    </a:lnTo>
                    <a:lnTo>
                      <a:pt x="178" y="36"/>
                    </a:lnTo>
                    <a:lnTo>
                      <a:pt x="153" y="50"/>
                    </a:lnTo>
                    <a:lnTo>
                      <a:pt x="162" y="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6" name="Freeform 120">
                <a:extLst>
                  <a:ext uri="{FF2B5EF4-FFF2-40B4-BE49-F238E27FC236}">
                    <a16:creationId xmlns:a16="http://schemas.microsoft.com/office/drawing/2014/main" id="{6C8E427A-CFB6-456F-84EA-D3158325D5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3738" y="3978051"/>
                <a:ext cx="107545" cy="172889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0" y="60"/>
                  </a:cxn>
                  <a:cxn ang="0">
                    <a:pos x="24" y="89"/>
                  </a:cxn>
                  <a:cxn ang="0">
                    <a:pos x="54" y="127"/>
                  </a:cxn>
                  <a:cxn ang="0">
                    <a:pos x="79" y="127"/>
                  </a:cxn>
                  <a:cxn ang="0">
                    <a:pos x="54" y="89"/>
                  </a:cxn>
                  <a:cxn ang="0">
                    <a:pos x="54" y="50"/>
                  </a:cxn>
                  <a:cxn ang="0">
                    <a:pos x="33" y="14"/>
                  </a:cxn>
                  <a:cxn ang="0">
                    <a:pos x="24" y="24"/>
                  </a:cxn>
                  <a:cxn ang="0">
                    <a:pos x="15" y="24"/>
                  </a:cxn>
                  <a:cxn ang="0">
                    <a:pos x="15" y="14"/>
                  </a:cxn>
                  <a:cxn ang="0">
                    <a:pos x="0" y="0"/>
                  </a:cxn>
                  <a:cxn ang="0">
                    <a:pos x="0" y="14"/>
                  </a:cxn>
                </a:cxnLst>
                <a:rect l="0" t="0" r="r" b="b"/>
                <a:pathLst>
                  <a:path w="79" h="127">
                    <a:moveTo>
                      <a:pt x="0" y="14"/>
                    </a:moveTo>
                    <a:lnTo>
                      <a:pt x="0" y="60"/>
                    </a:lnTo>
                    <a:lnTo>
                      <a:pt x="24" y="89"/>
                    </a:lnTo>
                    <a:lnTo>
                      <a:pt x="54" y="127"/>
                    </a:lnTo>
                    <a:lnTo>
                      <a:pt x="79" y="127"/>
                    </a:lnTo>
                    <a:lnTo>
                      <a:pt x="54" y="89"/>
                    </a:lnTo>
                    <a:lnTo>
                      <a:pt x="54" y="50"/>
                    </a:lnTo>
                    <a:lnTo>
                      <a:pt x="33" y="14"/>
                    </a:lnTo>
                    <a:lnTo>
                      <a:pt x="24" y="24"/>
                    </a:lnTo>
                    <a:lnTo>
                      <a:pt x="15" y="24"/>
                    </a:lnTo>
                    <a:lnTo>
                      <a:pt x="15" y="14"/>
                    </a:lnTo>
                    <a:lnTo>
                      <a:pt x="0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7" name="Freeform 132">
                <a:extLst>
                  <a:ext uri="{FF2B5EF4-FFF2-40B4-BE49-F238E27FC236}">
                    <a16:creationId xmlns:a16="http://schemas.microsoft.com/office/drawing/2014/main" id="{862E1841-02C5-47AA-B3F4-CCA7C1EE84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2043" y="3251100"/>
                <a:ext cx="69428" cy="59898"/>
              </a:xfrm>
              <a:custGeom>
                <a:avLst/>
                <a:gdLst/>
                <a:ahLst/>
                <a:cxnLst>
                  <a:cxn ang="0">
                    <a:pos x="41" y="14"/>
                  </a:cxn>
                  <a:cxn ang="0">
                    <a:pos x="51" y="28"/>
                  </a:cxn>
                  <a:cxn ang="0">
                    <a:pos x="51" y="44"/>
                  </a:cxn>
                  <a:cxn ang="0">
                    <a:pos x="12" y="44"/>
                  </a:cxn>
                  <a:cxn ang="0">
                    <a:pos x="0" y="44"/>
                  </a:cxn>
                  <a:cxn ang="0">
                    <a:pos x="0" y="28"/>
                  </a:cxn>
                  <a:cxn ang="0">
                    <a:pos x="12" y="0"/>
                  </a:cxn>
                  <a:cxn ang="0">
                    <a:pos x="41" y="14"/>
                  </a:cxn>
                </a:cxnLst>
                <a:rect l="0" t="0" r="r" b="b"/>
                <a:pathLst>
                  <a:path w="51" h="44">
                    <a:moveTo>
                      <a:pt x="41" y="14"/>
                    </a:moveTo>
                    <a:lnTo>
                      <a:pt x="51" y="28"/>
                    </a:lnTo>
                    <a:lnTo>
                      <a:pt x="51" y="44"/>
                    </a:lnTo>
                    <a:lnTo>
                      <a:pt x="12" y="44"/>
                    </a:lnTo>
                    <a:lnTo>
                      <a:pt x="0" y="44"/>
                    </a:lnTo>
                    <a:lnTo>
                      <a:pt x="0" y="28"/>
                    </a:lnTo>
                    <a:lnTo>
                      <a:pt x="12" y="0"/>
                    </a:lnTo>
                    <a:lnTo>
                      <a:pt x="41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8" name="Freeform 311">
                <a:extLst>
                  <a:ext uri="{FF2B5EF4-FFF2-40B4-BE49-F238E27FC236}">
                    <a16:creationId xmlns:a16="http://schemas.microsoft.com/office/drawing/2014/main" id="{63EF1CE5-2F61-4B5C-A6E4-16C3E56E73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1120" y="3222519"/>
                <a:ext cx="50370" cy="42202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12" y="31"/>
                  </a:cxn>
                  <a:cxn ang="0">
                    <a:pos x="37" y="31"/>
                  </a:cxn>
                  <a:cxn ang="0">
                    <a:pos x="12" y="0"/>
                  </a:cxn>
                  <a:cxn ang="0">
                    <a:pos x="0" y="31"/>
                  </a:cxn>
                </a:cxnLst>
                <a:rect l="0" t="0" r="r" b="b"/>
                <a:pathLst>
                  <a:path w="37" h="31">
                    <a:moveTo>
                      <a:pt x="0" y="31"/>
                    </a:moveTo>
                    <a:lnTo>
                      <a:pt x="12" y="31"/>
                    </a:lnTo>
                    <a:lnTo>
                      <a:pt x="37" y="31"/>
                    </a:lnTo>
                    <a:lnTo>
                      <a:pt x="12" y="0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9" name="Freeform 383">
                <a:extLst>
                  <a:ext uri="{FF2B5EF4-FFF2-40B4-BE49-F238E27FC236}">
                    <a16:creationId xmlns:a16="http://schemas.microsoft.com/office/drawing/2014/main" id="{0FE63899-C110-4E0E-A2CE-4ED1C0E953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2321" y="3873240"/>
                <a:ext cx="57176" cy="123881"/>
              </a:xfrm>
              <a:custGeom>
                <a:avLst/>
                <a:gdLst/>
                <a:ahLst/>
                <a:cxnLst>
                  <a:cxn ang="0">
                    <a:pos x="0" y="50"/>
                  </a:cxn>
                  <a:cxn ang="0">
                    <a:pos x="9" y="10"/>
                  </a:cxn>
                  <a:cxn ang="0">
                    <a:pos x="9" y="0"/>
                  </a:cxn>
                  <a:cxn ang="0">
                    <a:pos x="21" y="10"/>
                  </a:cxn>
                  <a:cxn ang="0">
                    <a:pos x="42" y="50"/>
                  </a:cxn>
                  <a:cxn ang="0">
                    <a:pos x="42" y="91"/>
                  </a:cxn>
                  <a:cxn ang="0">
                    <a:pos x="30" y="91"/>
                  </a:cxn>
                  <a:cxn ang="0">
                    <a:pos x="9" y="91"/>
                  </a:cxn>
                  <a:cxn ang="0">
                    <a:pos x="0" y="50"/>
                  </a:cxn>
                </a:cxnLst>
                <a:rect l="0" t="0" r="r" b="b"/>
                <a:pathLst>
                  <a:path w="42" h="91">
                    <a:moveTo>
                      <a:pt x="0" y="50"/>
                    </a:moveTo>
                    <a:lnTo>
                      <a:pt x="9" y="10"/>
                    </a:lnTo>
                    <a:lnTo>
                      <a:pt x="9" y="0"/>
                    </a:lnTo>
                    <a:lnTo>
                      <a:pt x="21" y="10"/>
                    </a:lnTo>
                    <a:lnTo>
                      <a:pt x="42" y="50"/>
                    </a:lnTo>
                    <a:lnTo>
                      <a:pt x="42" y="91"/>
                    </a:lnTo>
                    <a:lnTo>
                      <a:pt x="30" y="91"/>
                    </a:lnTo>
                    <a:lnTo>
                      <a:pt x="9" y="91"/>
                    </a:lnTo>
                    <a:lnTo>
                      <a:pt x="0" y="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0" name="Freeform 398">
                <a:extLst>
                  <a:ext uri="{FF2B5EF4-FFF2-40B4-BE49-F238E27FC236}">
                    <a16:creationId xmlns:a16="http://schemas.microsoft.com/office/drawing/2014/main" id="{3BEB6E58-5F57-4179-BC94-5D4328729E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6629" y="4010716"/>
                <a:ext cx="266820" cy="38525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4" y="11"/>
                  </a:cxn>
                  <a:cxn ang="0">
                    <a:pos x="101" y="90"/>
                  </a:cxn>
                  <a:cxn ang="0">
                    <a:pos x="110" y="90"/>
                  </a:cxn>
                  <a:cxn ang="0">
                    <a:pos x="141" y="115"/>
                  </a:cxn>
                  <a:cxn ang="0">
                    <a:pos x="141" y="127"/>
                  </a:cxn>
                  <a:cxn ang="0">
                    <a:pos x="153" y="144"/>
                  </a:cxn>
                  <a:cxn ang="0">
                    <a:pos x="141" y="155"/>
                  </a:cxn>
                  <a:cxn ang="0">
                    <a:pos x="153" y="167"/>
                  </a:cxn>
                  <a:cxn ang="0">
                    <a:pos x="165" y="167"/>
                  </a:cxn>
                  <a:cxn ang="0">
                    <a:pos x="178" y="192"/>
                  </a:cxn>
                  <a:cxn ang="0">
                    <a:pos x="187" y="192"/>
                  </a:cxn>
                  <a:cxn ang="0">
                    <a:pos x="196" y="217"/>
                  </a:cxn>
                  <a:cxn ang="0">
                    <a:pos x="187" y="283"/>
                  </a:cxn>
                  <a:cxn ang="0">
                    <a:pos x="178" y="271"/>
                  </a:cxn>
                  <a:cxn ang="0">
                    <a:pos x="165" y="283"/>
                  </a:cxn>
                  <a:cxn ang="0">
                    <a:pos x="165" y="271"/>
                  </a:cxn>
                  <a:cxn ang="0">
                    <a:pos x="110" y="217"/>
                  </a:cxn>
                  <a:cxn ang="0">
                    <a:pos x="101" y="192"/>
                  </a:cxn>
                  <a:cxn ang="0">
                    <a:pos x="86" y="155"/>
                  </a:cxn>
                  <a:cxn ang="0">
                    <a:pos x="64" y="127"/>
                  </a:cxn>
                  <a:cxn ang="0">
                    <a:pos x="64" y="90"/>
                  </a:cxn>
                  <a:cxn ang="0">
                    <a:pos x="43" y="76"/>
                  </a:cxn>
                  <a:cxn ang="0">
                    <a:pos x="21" y="54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96" h="283">
                    <a:moveTo>
                      <a:pt x="0" y="0"/>
                    </a:moveTo>
                    <a:lnTo>
                      <a:pt x="34" y="11"/>
                    </a:lnTo>
                    <a:lnTo>
                      <a:pt x="101" y="90"/>
                    </a:lnTo>
                    <a:lnTo>
                      <a:pt x="110" y="90"/>
                    </a:lnTo>
                    <a:lnTo>
                      <a:pt x="141" y="115"/>
                    </a:lnTo>
                    <a:lnTo>
                      <a:pt x="141" y="127"/>
                    </a:lnTo>
                    <a:lnTo>
                      <a:pt x="153" y="144"/>
                    </a:lnTo>
                    <a:lnTo>
                      <a:pt x="141" y="155"/>
                    </a:lnTo>
                    <a:lnTo>
                      <a:pt x="153" y="167"/>
                    </a:lnTo>
                    <a:lnTo>
                      <a:pt x="165" y="167"/>
                    </a:lnTo>
                    <a:lnTo>
                      <a:pt x="178" y="192"/>
                    </a:lnTo>
                    <a:lnTo>
                      <a:pt x="187" y="192"/>
                    </a:lnTo>
                    <a:lnTo>
                      <a:pt x="196" y="217"/>
                    </a:lnTo>
                    <a:lnTo>
                      <a:pt x="187" y="283"/>
                    </a:lnTo>
                    <a:lnTo>
                      <a:pt x="178" y="271"/>
                    </a:lnTo>
                    <a:lnTo>
                      <a:pt x="165" y="283"/>
                    </a:lnTo>
                    <a:lnTo>
                      <a:pt x="165" y="271"/>
                    </a:lnTo>
                    <a:lnTo>
                      <a:pt x="110" y="217"/>
                    </a:lnTo>
                    <a:lnTo>
                      <a:pt x="101" y="192"/>
                    </a:lnTo>
                    <a:lnTo>
                      <a:pt x="86" y="155"/>
                    </a:lnTo>
                    <a:lnTo>
                      <a:pt x="64" y="127"/>
                    </a:lnTo>
                    <a:lnTo>
                      <a:pt x="64" y="90"/>
                    </a:lnTo>
                    <a:lnTo>
                      <a:pt x="43" y="76"/>
                    </a:lnTo>
                    <a:lnTo>
                      <a:pt x="21" y="54"/>
                    </a:ln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1" name="Freeform 399">
                <a:extLst>
                  <a:ext uri="{FF2B5EF4-FFF2-40B4-BE49-F238E27FC236}">
                    <a16:creationId xmlns:a16="http://schemas.microsoft.com/office/drawing/2014/main" id="{9DFBD4CC-D1AF-4980-81D7-FE8A6B0760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7917" y="4150932"/>
                <a:ext cx="166082" cy="245039"/>
              </a:xfrm>
              <a:custGeom>
                <a:avLst/>
                <a:gdLst/>
                <a:ahLst/>
                <a:cxnLst>
                  <a:cxn ang="0">
                    <a:pos x="0" y="103"/>
                  </a:cxn>
                  <a:cxn ang="0">
                    <a:pos x="24" y="53"/>
                  </a:cxn>
                  <a:cxn ang="0">
                    <a:pos x="24" y="14"/>
                  </a:cxn>
                  <a:cxn ang="0">
                    <a:pos x="36" y="14"/>
                  </a:cxn>
                  <a:cxn ang="0">
                    <a:pos x="45" y="0"/>
                  </a:cxn>
                  <a:cxn ang="0">
                    <a:pos x="76" y="14"/>
                  </a:cxn>
                  <a:cxn ang="0">
                    <a:pos x="100" y="14"/>
                  </a:cxn>
                  <a:cxn ang="0">
                    <a:pos x="112" y="0"/>
                  </a:cxn>
                  <a:cxn ang="0">
                    <a:pos x="122" y="0"/>
                  </a:cxn>
                  <a:cxn ang="0">
                    <a:pos x="112" y="24"/>
                  </a:cxn>
                  <a:cxn ang="0">
                    <a:pos x="91" y="24"/>
                  </a:cxn>
                  <a:cxn ang="0">
                    <a:pos x="36" y="24"/>
                  </a:cxn>
                  <a:cxn ang="0">
                    <a:pos x="24" y="43"/>
                  </a:cxn>
                  <a:cxn ang="0">
                    <a:pos x="24" y="53"/>
                  </a:cxn>
                  <a:cxn ang="0">
                    <a:pos x="36" y="64"/>
                  </a:cxn>
                  <a:cxn ang="0">
                    <a:pos x="76" y="53"/>
                  </a:cxn>
                  <a:cxn ang="0">
                    <a:pos x="91" y="64"/>
                  </a:cxn>
                  <a:cxn ang="0">
                    <a:pos x="76" y="64"/>
                  </a:cxn>
                  <a:cxn ang="0">
                    <a:pos x="54" y="79"/>
                  </a:cxn>
                  <a:cxn ang="0">
                    <a:pos x="67" y="115"/>
                  </a:cxn>
                  <a:cxn ang="0">
                    <a:pos x="54" y="115"/>
                  </a:cxn>
                  <a:cxn ang="0">
                    <a:pos x="76" y="154"/>
                  </a:cxn>
                  <a:cxn ang="0">
                    <a:pos x="76" y="168"/>
                  </a:cxn>
                  <a:cxn ang="0">
                    <a:pos x="67" y="180"/>
                  </a:cxn>
                  <a:cxn ang="0">
                    <a:pos x="67" y="168"/>
                  </a:cxn>
                  <a:cxn ang="0">
                    <a:pos x="67" y="154"/>
                  </a:cxn>
                  <a:cxn ang="0">
                    <a:pos x="54" y="154"/>
                  </a:cxn>
                  <a:cxn ang="0">
                    <a:pos x="54" y="144"/>
                  </a:cxn>
                  <a:cxn ang="0">
                    <a:pos x="36" y="115"/>
                  </a:cxn>
                  <a:cxn ang="0">
                    <a:pos x="45" y="103"/>
                  </a:cxn>
                  <a:cxn ang="0">
                    <a:pos x="36" y="103"/>
                  </a:cxn>
                  <a:cxn ang="0">
                    <a:pos x="24" y="115"/>
                  </a:cxn>
                  <a:cxn ang="0">
                    <a:pos x="24" y="168"/>
                  </a:cxn>
                  <a:cxn ang="0">
                    <a:pos x="15" y="168"/>
                  </a:cxn>
                  <a:cxn ang="0">
                    <a:pos x="15" y="129"/>
                  </a:cxn>
                  <a:cxn ang="0">
                    <a:pos x="15" y="115"/>
                  </a:cxn>
                  <a:cxn ang="0">
                    <a:pos x="0" y="115"/>
                  </a:cxn>
                  <a:cxn ang="0">
                    <a:pos x="0" y="103"/>
                  </a:cxn>
                </a:cxnLst>
                <a:rect l="0" t="0" r="r" b="b"/>
                <a:pathLst>
                  <a:path w="122" h="180">
                    <a:moveTo>
                      <a:pt x="0" y="103"/>
                    </a:moveTo>
                    <a:lnTo>
                      <a:pt x="24" y="53"/>
                    </a:lnTo>
                    <a:lnTo>
                      <a:pt x="24" y="14"/>
                    </a:lnTo>
                    <a:lnTo>
                      <a:pt x="36" y="14"/>
                    </a:lnTo>
                    <a:lnTo>
                      <a:pt x="45" y="0"/>
                    </a:lnTo>
                    <a:lnTo>
                      <a:pt x="76" y="14"/>
                    </a:lnTo>
                    <a:lnTo>
                      <a:pt x="100" y="14"/>
                    </a:lnTo>
                    <a:lnTo>
                      <a:pt x="112" y="0"/>
                    </a:lnTo>
                    <a:lnTo>
                      <a:pt x="122" y="0"/>
                    </a:lnTo>
                    <a:lnTo>
                      <a:pt x="112" y="24"/>
                    </a:lnTo>
                    <a:lnTo>
                      <a:pt x="91" y="24"/>
                    </a:lnTo>
                    <a:lnTo>
                      <a:pt x="36" y="24"/>
                    </a:lnTo>
                    <a:lnTo>
                      <a:pt x="24" y="43"/>
                    </a:lnTo>
                    <a:lnTo>
                      <a:pt x="24" y="53"/>
                    </a:lnTo>
                    <a:lnTo>
                      <a:pt x="36" y="64"/>
                    </a:lnTo>
                    <a:lnTo>
                      <a:pt x="76" y="53"/>
                    </a:lnTo>
                    <a:lnTo>
                      <a:pt x="91" y="64"/>
                    </a:lnTo>
                    <a:lnTo>
                      <a:pt x="76" y="64"/>
                    </a:lnTo>
                    <a:lnTo>
                      <a:pt x="54" y="79"/>
                    </a:lnTo>
                    <a:lnTo>
                      <a:pt x="67" y="115"/>
                    </a:lnTo>
                    <a:lnTo>
                      <a:pt x="54" y="115"/>
                    </a:lnTo>
                    <a:lnTo>
                      <a:pt x="76" y="154"/>
                    </a:lnTo>
                    <a:lnTo>
                      <a:pt x="76" y="168"/>
                    </a:lnTo>
                    <a:lnTo>
                      <a:pt x="67" y="180"/>
                    </a:lnTo>
                    <a:lnTo>
                      <a:pt x="67" y="168"/>
                    </a:lnTo>
                    <a:lnTo>
                      <a:pt x="67" y="154"/>
                    </a:lnTo>
                    <a:lnTo>
                      <a:pt x="54" y="154"/>
                    </a:lnTo>
                    <a:lnTo>
                      <a:pt x="54" y="144"/>
                    </a:lnTo>
                    <a:lnTo>
                      <a:pt x="36" y="115"/>
                    </a:lnTo>
                    <a:lnTo>
                      <a:pt x="45" y="103"/>
                    </a:lnTo>
                    <a:lnTo>
                      <a:pt x="36" y="103"/>
                    </a:lnTo>
                    <a:lnTo>
                      <a:pt x="24" y="115"/>
                    </a:lnTo>
                    <a:lnTo>
                      <a:pt x="24" y="168"/>
                    </a:lnTo>
                    <a:lnTo>
                      <a:pt x="15" y="168"/>
                    </a:lnTo>
                    <a:lnTo>
                      <a:pt x="15" y="129"/>
                    </a:lnTo>
                    <a:lnTo>
                      <a:pt x="15" y="115"/>
                    </a:lnTo>
                    <a:lnTo>
                      <a:pt x="0" y="115"/>
                    </a:lnTo>
                    <a:lnTo>
                      <a:pt x="0" y="1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2" name="Freeform 400">
                <a:extLst>
                  <a:ext uri="{FF2B5EF4-FFF2-40B4-BE49-F238E27FC236}">
                    <a16:creationId xmlns:a16="http://schemas.microsoft.com/office/drawing/2014/main" id="{7DBF1BDA-1CAE-4EB2-B146-329D0D54D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8923" y="4134596"/>
                <a:ext cx="46285" cy="103461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12" y="0"/>
                  </a:cxn>
                  <a:cxn ang="0">
                    <a:pos x="21" y="10"/>
                  </a:cxn>
                  <a:cxn ang="0">
                    <a:pos x="34" y="10"/>
                  </a:cxn>
                  <a:cxn ang="0">
                    <a:pos x="34" y="24"/>
                  </a:cxn>
                  <a:cxn ang="0">
                    <a:pos x="21" y="24"/>
                  </a:cxn>
                  <a:cxn ang="0">
                    <a:pos x="21" y="35"/>
                  </a:cxn>
                  <a:cxn ang="0">
                    <a:pos x="12" y="35"/>
                  </a:cxn>
                  <a:cxn ang="0">
                    <a:pos x="12" y="53"/>
                  </a:cxn>
                  <a:cxn ang="0">
                    <a:pos x="21" y="76"/>
                  </a:cxn>
                  <a:cxn ang="0">
                    <a:pos x="12" y="53"/>
                  </a:cxn>
                  <a:cxn ang="0">
                    <a:pos x="0" y="24"/>
                  </a:cxn>
                </a:cxnLst>
                <a:rect l="0" t="0" r="r" b="b"/>
                <a:pathLst>
                  <a:path w="34" h="76">
                    <a:moveTo>
                      <a:pt x="0" y="24"/>
                    </a:moveTo>
                    <a:lnTo>
                      <a:pt x="12" y="0"/>
                    </a:lnTo>
                    <a:lnTo>
                      <a:pt x="21" y="10"/>
                    </a:lnTo>
                    <a:lnTo>
                      <a:pt x="34" y="10"/>
                    </a:lnTo>
                    <a:lnTo>
                      <a:pt x="34" y="24"/>
                    </a:lnTo>
                    <a:lnTo>
                      <a:pt x="21" y="24"/>
                    </a:lnTo>
                    <a:lnTo>
                      <a:pt x="21" y="35"/>
                    </a:lnTo>
                    <a:lnTo>
                      <a:pt x="12" y="35"/>
                    </a:lnTo>
                    <a:lnTo>
                      <a:pt x="12" y="53"/>
                    </a:lnTo>
                    <a:lnTo>
                      <a:pt x="21" y="76"/>
                    </a:lnTo>
                    <a:lnTo>
                      <a:pt x="12" y="53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3" name="Freeform 401">
                <a:extLst>
                  <a:ext uri="{FF2B5EF4-FFF2-40B4-BE49-F238E27FC236}">
                    <a16:creationId xmlns:a16="http://schemas.microsoft.com/office/drawing/2014/main" id="{19C4F175-76FF-45AD-97AD-FCF60C5919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25258" y="4292510"/>
                <a:ext cx="74874" cy="42202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9" y="0"/>
                  </a:cxn>
                  <a:cxn ang="0">
                    <a:pos x="31" y="0"/>
                  </a:cxn>
                  <a:cxn ang="0">
                    <a:pos x="40" y="13"/>
                  </a:cxn>
                  <a:cxn ang="0">
                    <a:pos x="55" y="31"/>
                  </a:cxn>
                  <a:cxn ang="0">
                    <a:pos x="0" y="13"/>
                  </a:cxn>
                </a:cxnLst>
                <a:rect l="0" t="0" r="r" b="b"/>
                <a:pathLst>
                  <a:path w="55" h="31">
                    <a:moveTo>
                      <a:pt x="0" y="13"/>
                    </a:moveTo>
                    <a:lnTo>
                      <a:pt x="9" y="0"/>
                    </a:lnTo>
                    <a:lnTo>
                      <a:pt x="31" y="0"/>
                    </a:lnTo>
                    <a:lnTo>
                      <a:pt x="40" y="13"/>
                    </a:lnTo>
                    <a:lnTo>
                      <a:pt x="55" y="31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4" name="Freeform 402">
                <a:extLst>
                  <a:ext uri="{FF2B5EF4-FFF2-40B4-BE49-F238E27FC236}">
                    <a16:creationId xmlns:a16="http://schemas.microsoft.com/office/drawing/2014/main" id="{129D9605-1487-43EF-97BA-21AA903F42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1673" y="4346963"/>
                <a:ext cx="103461" cy="61260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45" y="24"/>
                  </a:cxn>
                  <a:cxn ang="0">
                    <a:pos x="55" y="10"/>
                  </a:cxn>
                  <a:cxn ang="0">
                    <a:pos x="67" y="10"/>
                  </a:cxn>
                  <a:cxn ang="0">
                    <a:pos x="67" y="0"/>
                  </a:cxn>
                  <a:cxn ang="0">
                    <a:pos x="76" y="0"/>
                  </a:cxn>
                  <a:cxn ang="0">
                    <a:pos x="76" y="10"/>
                  </a:cxn>
                  <a:cxn ang="0">
                    <a:pos x="67" y="24"/>
                  </a:cxn>
                  <a:cxn ang="0">
                    <a:pos x="45" y="45"/>
                  </a:cxn>
                  <a:cxn ang="0">
                    <a:pos x="11" y="45"/>
                  </a:cxn>
                  <a:cxn ang="0">
                    <a:pos x="0" y="24"/>
                  </a:cxn>
                </a:cxnLst>
                <a:rect l="0" t="0" r="r" b="b"/>
                <a:pathLst>
                  <a:path w="76" h="45">
                    <a:moveTo>
                      <a:pt x="0" y="24"/>
                    </a:moveTo>
                    <a:lnTo>
                      <a:pt x="45" y="24"/>
                    </a:lnTo>
                    <a:lnTo>
                      <a:pt x="55" y="10"/>
                    </a:lnTo>
                    <a:lnTo>
                      <a:pt x="67" y="10"/>
                    </a:lnTo>
                    <a:lnTo>
                      <a:pt x="67" y="0"/>
                    </a:lnTo>
                    <a:lnTo>
                      <a:pt x="76" y="0"/>
                    </a:lnTo>
                    <a:lnTo>
                      <a:pt x="76" y="10"/>
                    </a:lnTo>
                    <a:lnTo>
                      <a:pt x="67" y="24"/>
                    </a:lnTo>
                    <a:lnTo>
                      <a:pt x="45" y="45"/>
                    </a:lnTo>
                    <a:lnTo>
                      <a:pt x="11" y="45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5" name="Freeform 403">
                <a:extLst>
                  <a:ext uri="{FF2B5EF4-FFF2-40B4-BE49-F238E27FC236}">
                    <a16:creationId xmlns:a16="http://schemas.microsoft.com/office/drawing/2014/main" id="{06CA30C0-8D5C-4B3C-96DD-2667570EE7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07907" y="4292510"/>
                <a:ext cx="47647" cy="6806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" y="0"/>
                  </a:cxn>
                  <a:cxn ang="0">
                    <a:pos x="35" y="25"/>
                  </a:cxn>
                  <a:cxn ang="0">
                    <a:pos x="35" y="50"/>
                  </a:cxn>
                  <a:cxn ang="0">
                    <a:pos x="20" y="25"/>
                  </a:cxn>
                  <a:cxn ang="0">
                    <a:pos x="0" y="0"/>
                  </a:cxn>
                </a:cxnLst>
                <a:rect l="0" t="0" r="r" b="b"/>
                <a:pathLst>
                  <a:path w="35" h="50">
                    <a:moveTo>
                      <a:pt x="0" y="0"/>
                    </a:moveTo>
                    <a:lnTo>
                      <a:pt x="12" y="0"/>
                    </a:lnTo>
                    <a:lnTo>
                      <a:pt x="35" y="25"/>
                    </a:lnTo>
                    <a:lnTo>
                      <a:pt x="35" y="50"/>
                    </a:lnTo>
                    <a:lnTo>
                      <a:pt x="20" y="2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6" name="Freeform 404">
                <a:extLst>
                  <a:ext uri="{FF2B5EF4-FFF2-40B4-BE49-F238E27FC236}">
                    <a16:creationId xmlns:a16="http://schemas.microsoft.com/office/drawing/2014/main" id="{75C8D85C-1F0A-4BF9-9AAF-43C344AEA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0307" y="4397333"/>
                <a:ext cx="219174" cy="85764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17" y="0"/>
                  </a:cxn>
                  <a:cxn ang="0">
                    <a:pos x="39" y="0"/>
                  </a:cxn>
                  <a:cxn ang="0">
                    <a:pos x="63" y="28"/>
                  </a:cxn>
                  <a:cxn ang="0">
                    <a:pos x="93" y="28"/>
                  </a:cxn>
                  <a:cxn ang="0">
                    <a:pos x="93" y="11"/>
                  </a:cxn>
                  <a:cxn ang="0">
                    <a:pos x="131" y="28"/>
                  </a:cxn>
                  <a:cxn ang="0">
                    <a:pos x="140" y="39"/>
                  </a:cxn>
                  <a:cxn ang="0">
                    <a:pos x="161" y="39"/>
                  </a:cxn>
                  <a:cxn ang="0">
                    <a:pos x="161" y="63"/>
                  </a:cxn>
                  <a:cxn ang="0">
                    <a:pos x="140" y="53"/>
                  </a:cxn>
                  <a:cxn ang="0">
                    <a:pos x="131" y="63"/>
                  </a:cxn>
                  <a:cxn ang="0">
                    <a:pos x="73" y="39"/>
                  </a:cxn>
                  <a:cxn ang="0">
                    <a:pos x="54" y="39"/>
                  </a:cxn>
                  <a:cxn ang="0">
                    <a:pos x="0" y="11"/>
                  </a:cxn>
                </a:cxnLst>
                <a:rect l="0" t="0" r="r" b="b"/>
                <a:pathLst>
                  <a:path w="161" h="63">
                    <a:moveTo>
                      <a:pt x="0" y="11"/>
                    </a:moveTo>
                    <a:lnTo>
                      <a:pt x="17" y="0"/>
                    </a:lnTo>
                    <a:lnTo>
                      <a:pt x="39" y="0"/>
                    </a:lnTo>
                    <a:lnTo>
                      <a:pt x="63" y="28"/>
                    </a:lnTo>
                    <a:lnTo>
                      <a:pt x="93" y="28"/>
                    </a:lnTo>
                    <a:lnTo>
                      <a:pt x="93" y="11"/>
                    </a:lnTo>
                    <a:lnTo>
                      <a:pt x="131" y="28"/>
                    </a:lnTo>
                    <a:lnTo>
                      <a:pt x="140" y="39"/>
                    </a:lnTo>
                    <a:lnTo>
                      <a:pt x="161" y="39"/>
                    </a:lnTo>
                    <a:lnTo>
                      <a:pt x="161" y="63"/>
                    </a:lnTo>
                    <a:lnTo>
                      <a:pt x="140" y="53"/>
                    </a:lnTo>
                    <a:lnTo>
                      <a:pt x="131" y="63"/>
                    </a:lnTo>
                    <a:lnTo>
                      <a:pt x="73" y="39"/>
                    </a:lnTo>
                    <a:lnTo>
                      <a:pt x="54" y="39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7" name="Freeform 405">
                <a:extLst>
                  <a:ext uri="{FF2B5EF4-FFF2-40B4-BE49-F238E27FC236}">
                    <a16:creationId xmlns:a16="http://schemas.microsoft.com/office/drawing/2014/main" id="{EFF10FF9-01F7-48D4-AF42-D289220F6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5766" y="4470845"/>
                <a:ext cx="194670" cy="4084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0" y="13"/>
                  </a:cxn>
                  <a:cxn ang="0">
                    <a:pos x="12" y="0"/>
                  </a:cxn>
                  <a:cxn ang="0">
                    <a:pos x="30" y="13"/>
                  </a:cxn>
                  <a:cxn ang="0">
                    <a:pos x="30" y="0"/>
                  </a:cxn>
                  <a:cxn ang="0">
                    <a:pos x="67" y="13"/>
                  </a:cxn>
                  <a:cxn ang="0">
                    <a:pos x="76" y="0"/>
                  </a:cxn>
                  <a:cxn ang="0">
                    <a:pos x="106" y="13"/>
                  </a:cxn>
                  <a:cxn ang="0">
                    <a:pos x="119" y="0"/>
                  </a:cxn>
                  <a:cxn ang="0">
                    <a:pos x="143" y="13"/>
                  </a:cxn>
                  <a:cxn ang="0">
                    <a:pos x="106" y="30"/>
                  </a:cxn>
                  <a:cxn ang="0">
                    <a:pos x="67" y="13"/>
                  </a:cxn>
                  <a:cxn ang="0">
                    <a:pos x="20" y="30"/>
                  </a:cxn>
                  <a:cxn ang="0">
                    <a:pos x="0" y="30"/>
                  </a:cxn>
                </a:cxnLst>
                <a:rect l="0" t="0" r="r" b="b"/>
                <a:pathLst>
                  <a:path w="143" h="30">
                    <a:moveTo>
                      <a:pt x="0" y="30"/>
                    </a:moveTo>
                    <a:lnTo>
                      <a:pt x="0" y="13"/>
                    </a:lnTo>
                    <a:lnTo>
                      <a:pt x="12" y="0"/>
                    </a:lnTo>
                    <a:lnTo>
                      <a:pt x="30" y="13"/>
                    </a:lnTo>
                    <a:lnTo>
                      <a:pt x="30" y="0"/>
                    </a:lnTo>
                    <a:lnTo>
                      <a:pt x="67" y="13"/>
                    </a:lnTo>
                    <a:lnTo>
                      <a:pt x="76" y="0"/>
                    </a:lnTo>
                    <a:lnTo>
                      <a:pt x="106" y="13"/>
                    </a:lnTo>
                    <a:lnTo>
                      <a:pt x="119" y="0"/>
                    </a:lnTo>
                    <a:lnTo>
                      <a:pt x="143" y="13"/>
                    </a:lnTo>
                    <a:lnTo>
                      <a:pt x="106" y="30"/>
                    </a:lnTo>
                    <a:lnTo>
                      <a:pt x="67" y="13"/>
                    </a:lnTo>
                    <a:lnTo>
                      <a:pt x="2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8" name="Freeform 406">
                <a:extLst>
                  <a:ext uri="{FF2B5EF4-FFF2-40B4-BE49-F238E27FC236}">
                    <a16:creationId xmlns:a16="http://schemas.microsoft.com/office/drawing/2014/main" id="{8BC38019-252D-4381-8903-17E1A1199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7917" y="4519852"/>
                <a:ext cx="47647" cy="4084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0"/>
                  </a:cxn>
                  <a:cxn ang="0">
                    <a:pos x="35" y="30"/>
                  </a:cxn>
                  <a:cxn ang="0">
                    <a:pos x="24" y="30"/>
                  </a:cxn>
                  <a:cxn ang="0">
                    <a:pos x="0" y="0"/>
                  </a:cxn>
                </a:cxnLst>
                <a:rect l="0" t="0" r="r" b="b"/>
                <a:pathLst>
                  <a:path w="35" h="30">
                    <a:moveTo>
                      <a:pt x="0" y="0"/>
                    </a:moveTo>
                    <a:lnTo>
                      <a:pt x="15" y="0"/>
                    </a:lnTo>
                    <a:lnTo>
                      <a:pt x="35" y="30"/>
                    </a:lnTo>
                    <a:lnTo>
                      <a:pt x="24" y="3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9" name="Freeform 407">
                <a:extLst>
                  <a:ext uri="{FF2B5EF4-FFF2-40B4-BE49-F238E27FC236}">
                    <a16:creationId xmlns:a16="http://schemas.microsoft.com/office/drawing/2014/main" id="{DCD9332D-5DE8-4E6E-9387-C12D8600D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1378" y="4484457"/>
                <a:ext cx="107545" cy="49008"/>
              </a:xfrm>
              <a:custGeom>
                <a:avLst/>
                <a:gdLst/>
                <a:ahLst/>
                <a:cxnLst>
                  <a:cxn ang="0">
                    <a:pos x="0" y="36"/>
                  </a:cxn>
                  <a:cxn ang="0">
                    <a:pos x="14" y="25"/>
                  </a:cxn>
                  <a:cxn ang="0">
                    <a:pos x="36" y="0"/>
                  </a:cxn>
                  <a:cxn ang="0">
                    <a:pos x="79" y="0"/>
                  </a:cxn>
                  <a:cxn ang="0">
                    <a:pos x="36" y="14"/>
                  </a:cxn>
                  <a:cxn ang="0">
                    <a:pos x="23" y="36"/>
                  </a:cxn>
                  <a:cxn ang="0">
                    <a:pos x="0" y="36"/>
                  </a:cxn>
                </a:cxnLst>
                <a:rect l="0" t="0" r="r" b="b"/>
                <a:pathLst>
                  <a:path w="79" h="36">
                    <a:moveTo>
                      <a:pt x="0" y="36"/>
                    </a:moveTo>
                    <a:lnTo>
                      <a:pt x="14" y="25"/>
                    </a:lnTo>
                    <a:lnTo>
                      <a:pt x="36" y="0"/>
                    </a:lnTo>
                    <a:lnTo>
                      <a:pt x="79" y="0"/>
                    </a:lnTo>
                    <a:lnTo>
                      <a:pt x="36" y="14"/>
                    </a:lnTo>
                    <a:lnTo>
                      <a:pt x="23" y="36"/>
                    </a:lnTo>
                    <a:lnTo>
                      <a:pt x="0" y="3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0" name="Freeform 408">
                <a:extLst>
                  <a:ext uri="{FF2B5EF4-FFF2-40B4-BE49-F238E27FC236}">
                    <a16:creationId xmlns:a16="http://schemas.microsoft.com/office/drawing/2014/main" id="{B6F231BA-A01F-41F0-BE29-84CF4CBBF5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6019" y="4559331"/>
                <a:ext cx="971988" cy="947485"/>
              </a:xfrm>
              <a:custGeom>
                <a:avLst/>
                <a:gdLst/>
                <a:ahLst/>
                <a:cxnLst>
                  <a:cxn ang="0">
                    <a:pos x="0" y="551"/>
                  </a:cxn>
                  <a:cxn ang="0">
                    <a:pos x="21" y="515"/>
                  </a:cxn>
                  <a:cxn ang="0">
                    <a:pos x="9" y="384"/>
                  </a:cxn>
                  <a:cxn ang="0">
                    <a:pos x="21" y="384"/>
                  </a:cxn>
                  <a:cxn ang="0">
                    <a:pos x="31" y="307"/>
                  </a:cxn>
                  <a:cxn ang="0">
                    <a:pos x="46" y="268"/>
                  </a:cxn>
                  <a:cxn ang="0">
                    <a:pos x="76" y="239"/>
                  </a:cxn>
                  <a:cxn ang="0">
                    <a:pos x="199" y="177"/>
                  </a:cxn>
                  <a:cxn ang="0">
                    <a:pos x="217" y="137"/>
                  </a:cxn>
                  <a:cxn ang="0">
                    <a:pos x="230" y="151"/>
                  </a:cxn>
                  <a:cxn ang="0">
                    <a:pos x="239" y="137"/>
                  </a:cxn>
                  <a:cxn ang="0">
                    <a:pos x="276" y="101"/>
                  </a:cxn>
                  <a:cxn ang="0">
                    <a:pos x="307" y="76"/>
                  </a:cxn>
                  <a:cxn ang="0">
                    <a:pos x="318" y="115"/>
                  </a:cxn>
                  <a:cxn ang="0">
                    <a:pos x="340" y="115"/>
                  </a:cxn>
                  <a:cxn ang="0">
                    <a:pos x="340" y="90"/>
                  </a:cxn>
                  <a:cxn ang="0">
                    <a:pos x="362" y="76"/>
                  </a:cxn>
                  <a:cxn ang="0">
                    <a:pos x="371" y="36"/>
                  </a:cxn>
                  <a:cxn ang="0">
                    <a:pos x="407" y="21"/>
                  </a:cxn>
                  <a:cxn ang="0">
                    <a:pos x="450" y="36"/>
                  </a:cxn>
                  <a:cxn ang="0">
                    <a:pos x="462" y="47"/>
                  </a:cxn>
                  <a:cxn ang="0">
                    <a:pos x="484" y="36"/>
                  </a:cxn>
                  <a:cxn ang="0">
                    <a:pos x="462" y="60"/>
                  </a:cxn>
                  <a:cxn ang="0">
                    <a:pos x="450" y="101"/>
                  </a:cxn>
                  <a:cxn ang="0">
                    <a:pos x="462" y="127"/>
                  </a:cxn>
                  <a:cxn ang="0">
                    <a:pos x="506" y="151"/>
                  </a:cxn>
                  <a:cxn ang="0">
                    <a:pos x="527" y="166"/>
                  </a:cxn>
                  <a:cxn ang="0">
                    <a:pos x="561" y="127"/>
                  </a:cxn>
                  <a:cxn ang="0">
                    <a:pos x="582" y="0"/>
                  </a:cxn>
                  <a:cxn ang="0">
                    <a:pos x="603" y="90"/>
                  </a:cxn>
                  <a:cxn ang="0">
                    <a:pos x="625" y="101"/>
                  </a:cxn>
                  <a:cxn ang="0">
                    <a:pos x="638" y="166"/>
                  </a:cxn>
                  <a:cxn ang="0">
                    <a:pos x="646" y="216"/>
                  </a:cxn>
                  <a:cxn ang="0">
                    <a:pos x="680" y="282"/>
                  </a:cxn>
                  <a:cxn ang="0">
                    <a:pos x="693" y="307"/>
                  </a:cxn>
                  <a:cxn ang="0">
                    <a:pos x="714" y="372"/>
                  </a:cxn>
                  <a:cxn ang="0">
                    <a:pos x="680" y="503"/>
                  </a:cxn>
                  <a:cxn ang="0">
                    <a:pos x="561" y="652"/>
                  </a:cxn>
                  <a:cxn ang="0">
                    <a:pos x="484" y="681"/>
                  </a:cxn>
                  <a:cxn ang="0">
                    <a:pos x="472" y="681"/>
                  </a:cxn>
                  <a:cxn ang="0">
                    <a:pos x="438" y="681"/>
                  </a:cxn>
                  <a:cxn ang="0">
                    <a:pos x="395" y="641"/>
                  </a:cxn>
                  <a:cxn ang="0">
                    <a:pos x="395" y="616"/>
                  </a:cxn>
                  <a:cxn ang="0">
                    <a:pos x="386" y="605"/>
                  </a:cxn>
                  <a:cxn ang="0">
                    <a:pos x="395" y="576"/>
                  </a:cxn>
                  <a:cxn ang="0">
                    <a:pos x="395" y="551"/>
                  </a:cxn>
                  <a:cxn ang="0">
                    <a:pos x="340" y="590"/>
                  </a:cxn>
                  <a:cxn ang="0">
                    <a:pos x="294" y="515"/>
                  </a:cxn>
                  <a:cxn ang="0">
                    <a:pos x="153" y="540"/>
                  </a:cxn>
                  <a:cxn ang="0">
                    <a:pos x="86" y="565"/>
                  </a:cxn>
                  <a:cxn ang="0">
                    <a:pos x="9" y="590"/>
                  </a:cxn>
                </a:cxnLst>
                <a:rect l="0" t="0" r="r" b="b"/>
                <a:pathLst>
                  <a:path w="714" h="696">
                    <a:moveTo>
                      <a:pt x="0" y="576"/>
                    </a:moveTo>
                    <a:lnTo>
                      <a:pt x="0" y="551"/>
                    </a:lnTo>
                    <a:lnTo>
                      <a:pt x="9" y="551"/>
                    </a:lnTo>
                    <a:lnTo>
                      <a:pt x="21" y="515"/>
                    </a:lnTo>
                    <a:lnTo>
                      <a:pt x="21" y="449"/>
                    </a:lnTo>
                    <a:lnTo>
                      <a:pt x="9" y="384"/>
                    </a:lnTo>
                    <a:lnTo>
                      <a:pt x="9" y="359"/>
                    </a:lnTo>
                    <a:lnTo>
                      <a:pt x="21" y="384"/>
                    </a:lnTo>
                    <a:lnTo>
                      <a:pt x="21" y="319"/>
                    </a:lnTo>
                    <a:lnTo>
                      <a:pt x="31" y="307"/>
                    </a:lnTo>
                    <a:lnTo>
                      <a:pt x="31" y="293"/>
                    </a:lnTo>
                    <a:lnTo>
                      <a:pt x="46" y="268"/>
                    </a:lnTo>
                    <a:lnTo>
                      <a:pt x="46" y="282"/>
                    </a:lnTo>
                    <a:lnTo>
                      <a:pt x="76" y="239"/>
                    </a:lnTo>
                    <a:lnTo>
                      <a:pt x="162" y="216"/>
                    </a:lnTo>
                    <a:lnTo>
                      <a:pt x="199" y="177"/>
                    </a:lnTo>
                    <a:lnTo>
                      <a:pt x="199" y="166"/>
                    </a:lnTo>
                    <a:lnTo>
                      <a:pt x="217" y="137"/>
                    </a:lnTo>
                    <a:lnTo>
                      <a:pt x="217" y="166"/>
                    </a:lnTo>
                    <a:lnTo>
                      <a:pt x="230" y="151"/>
                    </a:lnTo>
                    <a:lnTo>
                      <a:pt x="230" y="127"/>
                    </a:lnTo>
                    <a:lnTo>
                      <a:pt x="239" y="137"/>
                    </a:lnTo>
                    <a:lnTo>
                      <a:pt x="263" y="101"/>
                    </a:lnTo>
                    <a:lnTo>
                      <a:pt x="276" y="101"/>
                    </a:lnTo>
                    <a:lnTo>
                      <a:pt x="294" y="76"/>
                    </a:lnTo>
                    <a:lnTo>
                      <a:pt x="307" y="76"/>
                    </a:lnTo>
                    <a:lnTo>
                      <a:pt x="307" y="90"/>
                    </a:lnTo>
                    <a:lnTo>
                      <a:pt x="318" y="115"/>
                    </a:lnTo>
                    <a:lnTo>
                      <a:pt x="331" y="101"/>
                    </a:lnTo>
                    <a:lnTo>
                      <a:pt x="340" y="115"/>
                    </a:lnTo>
                    <a:lnTo>
                      <a:pt x="352" y="101"/>
                    </a:lnTo>
                    <a:lnTo>
                      <a:pt x="340" y="90"/>
                    </a:lnTo>
                    <a:lnTo>
                      <a:pt x="352" y="76"/>
                    </a:lnTo>
                    <a:lnTo>
                      <a:pt x="362" y="76"/>
                    </a:lnTo>
                    <a:lnTo>
                      <a:pt x="362" y="47"/>
                    </a:lnTo>
                    <a:lnTo>
                      <a:pt x="371" y="36"/>
                    </a:lnTo>
                    <a:lnTo>
                      <a:pt x="395" y="36"/>
                    </a:lnTo>
                    <a:lnTo>
                      <a:pt x="407" y="21"/>
                    </a:lnTo>
                    <a:lnTo>
                      <a:pt x="407" y="10"/>
                    </a:lnTo>
                    <a:lnTo>
                      <a:pt x="450" y="36"/>
                    </a:lnTo>
                    <a:lnTo>
                      <a:pt x="462" y="36"/>
                    </a:lnTo>
                    <a:lnTo>
                      <a:pt x="462" y="47"/>
                    </a:lnTo>
                    <a:lnTo>
                      <a:pt x="472" y="36"/>
                    </a:lnTo>
                    <a:lnTo>
                      <a:pt x="484" y="36"/>
                    </a:lnTo>
                    <a:lnTo>
                      <a:pt x="472" y="60"/>
                    </a:lnTo>
                    <a:lnTo>
                      <a:pt x="462" y="60"/>
                    </a:lnTo>
                    <a:lnTo>
                      <a:pt x="462" y="90"/>
                    </a:lnTo>
                    <a:lnTo>
                      <a:pt x="450" y="101"/>
                    </a:lnTo>
                    <a:lnTo>
                      <a:pt x="462" y="115"/>
                    </a:lnTo>
                    <a:lnTo>
                      <a:pt x="462" y="127"/>
                    </a:lnTo>
                    <a:lnTo>
                      <a:pt x="484" y="127"/>
                    </a:lnTo>
                    <a:lnTo>
                      <a:pt x="506" y="151"/>
                    </a:lnTo>
                    <a:lnTo>
                      <a:pt x="517" y="177"/>
                    </a:lnTo>
                    <a:lnTo>
                      <a:pt x="527" y="166"/>
                    </a:lnTo>
                    <a:lnTo>
                      <a:pt x="539" y="166"/>
                    </a:lnTo>
                    <a:lnTo>
                      <a:pt x="561" y="127"/>
                    </a:lnTo>
                    <a:lnTo>
                      <a:pt x="582" y="10"/>
                    </a:lnTo>
                    <a:lnTo>
                      <a:pt x="582" y="0"/>
                    </a:lnTo>
                    <a:lnTo>
                      <a:pt x="594" y="10"/>
                    </a:lnTo>
                    <a:lnTo>
                      <a:pt x="603" y="90"/>
                    </a:lnTo>
                    <a:lnTo>
                      <a:pt x="616" y="90"/>
                    </a:lnTo>
                    <a:lnTo>
                      <a:pt x="625" y="101"/>
                    </a:lnTo>
                    <a:lnTo>
                      <a:pt x="625" y="137"/>
                    </a:lnTo>
                    <a:lnTo>
                      <a:pt x="638" y="166"/>
                    </a:lnTo>
                    <a:lnTo>
                      <a:pt x="638" y="203"/>
                    </a:lnTo>
                    <a:lnTo>
                      <a:pt x="646" y="216"/>
                    </a:lnTo>
                    <a:lnTo>
                      <a:pt x="671" y="228"/>
                    </a:lnTo>
                    <a:lnTo>
                      <a:pt x="680" y="282"/>
                    </a:lnTo>
                    <a:lnTo>
                      <a:pt x="693" y="293"/>
                    </a:lnTo>
                    <a:lnTo>
                      <a:pt x="693" y="307"/>
                    </a:lnTo>
                    <a:lnTo>
                      <a:pt x="702" y="319"/>
                    </a:lnTo>
                    <a:lnTo>
                      <a:pt x="714" y="372"/>
                    </a:lnTo>
                    <a:lnTo>
                      <a:pt x="714" y="438"/>
                    </a:lnTo>
                    <a:lnTo>
                      <a:pt x="680" y="503"/>
                    </a:lnTo>
                    <a:lnTo>
                      <a:pt x="594" y="616"/>
                    </a:lnTo>
                    <a:lnTo>
                      <a:pt x="561" y="652"/>
                    </a:lnTo>
                    <a:lnTo>
                      <a:pt x="484" y="696"/>
                    </a:lnTo>
                    <a:lnTo>
                      <a:pt x="484" y="681"/>
                    </a:lnTo>
                    <a:lnTo>
                      <a:pt x="484" y="671"/>
                    </a:lnTo>
                    <a:lnTo>
                      <a:pt x="472" y="681"/>
                    </a:lnTo>
                    <a:lnTo>
                      <a:pt x="472" y="652"/>
                    </a:lnTo>
                    <a:lnTo>
                      <a:pt x="438" y="681"/>
                    </a:lnTo>
                    <a:lnTo>
                      <a:pt x="407" y="681"/>
                    </a:lnTo>
                    <a:lnTo>
                      <a:pt x="395" y="641"/>
                    </a:lnTo>
                    <a:lnTo>
                      <a:pt x="407" y="630"/>
                    </a:lnTo>
                    <a:lnTo>
                      <a:pt x="395" y="616"/>
                    </a:lnTo>
                    <a:lnTo>
                      <a:pt x="395" y="605"/>
                    </a:lnTo>
                    <a:lnTo>
                      <a:pt x="386" y="605"/>
                    </a:lnTo>
                    <a:lnTo>
                      <a:pt x="395" y="590"/>
                    </a:lnTo>
                    <a:lnTo>
                      <a:pt x="395" y="576"/>
                    </a:lnTo>
                    <a:lnTo>
                      <a:pt x="362" y="605"/>
                    </a:lnTo>
                    <a:lnTo>
                      <a:pt x="395" y="551"/>
                    </a:lnTo>
                    <a:lnTo>
                      <a:pt x="395" y="540"/>
                    </a:lnTo>
                    <a:lnTo>
                      <a:pt x="340" y="590"/>
                    </a:lnTo>
                    <a:lnTo>
                      <a:pt x="340" y="540"/>
                    </a:lnTo>
                    <a:lnTo>
                      <a:pt x="294" y="515"/>
                    </a:lnTo>
                    <a:lnTo>
                      <a:pt x="199" y="529"/>
                    </a:lnTo>
                    <a:lnTo>
                      <a:pt x="153" y="540"/>
                    </a:lnTo>
                    <a:lnTo>
                      <a:pt x="141" y="565"/>
                    </a:lnTo>
                    <a:lnTo>
                      <a:pt x="86" y="565"/>
                    </a:lnTo>
                    <a:lnTo>
                      <a:pt x="46" y="590"/>
                    </a:lnTo>
                    <a:lnTo>
                      <a:pt x="9" y="590"/>
                    </a:lnTo>
                    <a:lnTo>
                      <a:pt x="0" y="57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1" name="Freeform 409">
                <a:extLst>
                  <a:ext uri="{FF2B5EF4-FFF2-40B4-BE49-F238E27FC236}">
                    <a16:creationId xmlns:a16="http://schemas.microsoft.com/office/drawing/2014/main" id="{3026FCA2-8065-440F-8202-F9162EE2C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0030" y="5554462"/>
                <a:ext cx="85764" cy="88487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32" y="11"/>
                  </a:cxn>
                  <a:cxn ang="0">
                    <a:pos x="63" y="0"/>
                  </a:cxn>
                  <a:cxn ang="0">
                    <a:pos x="32" y="54"/>
                  </a:cxn>
                  <a:cxn ang="0">
                    <a:pos x="9" y="65"/>
                  </a:cxn>
                  <a:cxn ang="0">
                    <a:pos x="0" y="65"/>
                  </a:cxn>
                  <a:cxn ang="0">
                    <a:pos x="0" y="54"/>
                  </a:cxn>
                  <a:cxn ang="0">
                    <a:pos x="9" y="0"/>
                  </a:cxn>
                </a:cxnLst>
                <a:rect l="0" t="0" r="r" b="b"/>
                <a:pathLst>
                  <a:path w="63" h="65">
                    <a:moveTo>
                      <a:pt x="9" y="0"/>
                    </a:moveTo>
                    <a:lnTo>
                      <a:pt x="32" y="11"/>
                    </a:lnTo>
                    <a:lnTo>
                      <a:pt x="63" y="0"/>
                    </a:lnTo>
                    <a:lnTo>
                      <a:pt x="32" y="54"/>
                    </a:lnTo>
                    <a:lnTo>
                      <a:pt x="9" y="65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2" name="Freeform 410">
                <a:extLst>
                  <a:ext uri="{FF2B5EF4-FFF2-40B4-BE49-F238E27FC236}">
                    <a16:creationId xmlns:a16="http://schemas.microsoft.com/office/drawing/2014/main" id="{C535E8EF-0F1D-4CCC-97CC-9F95F92B58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48125" y="5342095"/>
                <a:ext cx="145663" cy="227342"/>
              </a:xfrm>
              <a:custGeom>
                <a:avLst/>
                <a:gdLst/>
                <a:ahLst/>
                <a:cxnLst>
                  <a:cxn ang="0">
                    <a:pos x="0" y="119"/>
                  </a:cxn>
                  <a:cxn ang="0">
                    <a:pos x="18" y="105"/>
                  </a:cxn>
                  <a:cxn ang="0">
                    <a:pos x="55" y="64"/>
                  </a:cxn>
                  <a:cxn ang="0">
                    <a:pos x="42" y="64"/>
                  </a:cxn>
                  <a:cxn ang="0">
                    <a:pos x="42" y="0"/>
                  </a:cxn>
                  <a:cxn ang="0">
                    <a:pos x="55" y="14"/>
                  </a:cxn>
                  <a:cxn ang="0">
                    <a:pos x="64" y="14"/>
                  </a:cxn>
                  <a:cxn ang="0">
                    <a:pos x="64" y="28"/>
                  </a:cxn>
                  <a:cxn ang="0">
                    <a:pos x="55" y="64"/>
                  </a:cxn>
                  <a:cxn ang="0">
                    <a:pos x="64" y="64"/>
                  </a:cxn>
                  <a:cxn ang="0">
                    <a:pos x="64" y="54"/>
                  </a:cxn>
                  <a:cxn ang="0">
                    <a:pos x="76" y="54"/>
                  </a:cxn>
                  <a:cxn ang="0">
                    <a:pos x="64" y="76"/>
                  </a:cxn>
                  <a:cxn ang="0">
                    <a:pos x="76" y="93"/>
                  </a:cxn>
                  <a:cxn ang="0">
                    <a:pos x="98" y="76"/>
                  </a:cxn>
                  <a:cxn ang="0">
                    <a:pos x="107" y="76"/>
                  </a:cxn>
                  <a:cxn ang="0">
                    <a:pos x="86" y="105"/>
                  </a:cxn>
                  <a:cxn ang="0">
                    <a:pos x="64" y="119"/>
                  </a:cxn>
                  <a:cxn ang="0">
                    <a:pos x="9" y="167"/>
                  </a:cxn>
                  <a:cxn ang="0">
                    <a:pos x="0" y="167"/>
                  </a:cxn>
                  <a:cxn ang="0">
                    <a:pos x="18" y="144"/>
                  </a:cxn>
                  <a:cxn ang="0">
                    <a:pos x="0" y="119"/>
                  </a:cxn>
                </a:cxnLst>
                <a:rect l="0" t="0" r="r" b="b"/>
                <a:pathLst>
                  <a:path w="107" h="167">
                    <a:moveTo>
                      <a:pt x="0" y="119"/>
                    </a:moveTo>
                    <a:lnTo>
                      <a:pt x="18" y="105"/>
                    </a:lnTo>
                    <a:lnTo>
                      <a:pt x="55" y="64"/>
                    </a:lnTo>
                    <a:lnTo>
                      <a:pt x="42" y="64"/>
                    </a:lnTo>
                    <a:lnTo>
                      <a:pt x="42" y="0"/>
                    </a:lnTo>
                    <a:lnTo>
                      <a:pt x="55" y="14"/>
                    </a:lnTo>
                    <a:lnTo>
                      <a:pt x="64" y="14"/>
                    </a:lnTo>
                    <a:lnTo>
                      <a:pt x="64" y="28"/>
                    </a:lnTo>
                    <a:lnTo>
                      <a:pt x="55" y="64"/>
                    </a:lnTo>
                    <a:lnTo>
                      <a:pt x="64" y="64"/>
                    </a:lnTo>
                    <a:lnTo>
                      <a:pt x="64" y="54"/>
                    </a:lnTo>
                    <a:lnTo>
                      <a:pt x="76" y="54"/>
                    </a:lnTo>
                    <a:lnTo>
                      <a:pt x="64" y="76"/>
                    </a:lnTo>
                    <a:lnTo>
                      <a:pt x="76" y="93"/>
                    </a:lnTo>
                    <a:lnTo>
                      <a:pt x="98" y="76"/>
                    </a:lnTo>
                    <a:lnTo>
                      <a:pt x="107" y="76"/>
                    </a:lnTo>
                    <a:lnTo>
                      <a:pt x="86" y="105"/>
                    </a:lnTo>
                    <a:lnTo>
                      <a:pt x="64" y="119"/>
                    </a:lnTo>
                    <a:lnTo>
                      <a:pt x="9" y="167"/>
                    </a:lnTo>
                    <a:lnTo>
                      <a:pt x="0" y="167"/>
                    </a:lnTo>
                    <a:lnTo>
                      <a:pt x="18" y="144"/>
                    </a:lnTo>
                    <a:lnTo>
                      <a:pt x="0" y="1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3" name="Freeform 411">
                <a:extLst>
                  <a:ext uri="{FF2B5EF4-FFF2-40B4-BE49-F238E27FC236}">
                    <a16:creationId xmlns:a16="http://schemas.microsoft.com/office/drawing/2014/main" id="{FF056B54-6E5C-4295-8C0E-9AD9DC1D2C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64968" y="5554462"/>
                <a:ext cx="266820" cy="198754"/>
              </a:xfrm>
              <a:custGeom>
                <a:avLst/>
                <a:gdLst/>
                <a:ahLst/>
                <a:cxnLst>
                  <a:cxn ang="0">
                    <a:pos x="0" y="130"/>
                  </a:cxn>
                  <a:cxn ang="0">
                    <a:pos x="55" y="76"/>
                  </a:cxn>
                  <a:cxn ang="0">
                    <a:pos x="117" y="54"/>
                  </a:cxn>
                  <a:cxn ang="0">
                    <a:pos x="162" y="0"/>
                  </a:cxn>
                  <a:cxn ang="0">
                    <a:pos x="175" y="0"/>
                  </a:cxn>
                  <a:cxn ang="0">
                    <a:pos x="175" y="11"/>
                  </a:cxn>
                  <a:cxn ang="0">
                    <a:pos x="196" y="0"/>
                  </a:cxn>
                  <a:cxn ang="0">
                    <a:pos x="184" y="11"/>
                  </a:cxn>
                  <a:cxn ang="0">
                    <a:pos x="196" y="11"/>
                  </a:cxn>
                  <a:cxn ang="0">
                    <a:pos x="184" y="29"/>
                  </a:cxn>
                  <a:cxn ang="0">
                    <a:pos x="141" y="54"/>
                  </a:cxn>
                  <a:cxn ang="0">
                    <a:pos x="141" y="76"/>
                  </a:cxn>
                  <a:cxn ang="0">
                    <a:pos x="98" y="91"/>
                  </a:cxn>
                  <a:cxn ang="0">
                    <a:pos x="55" y="130"/>
                  </a:cxn>
                  <a:cxn ang="0">
                    <a:pos x="18" y="146"/>
                  </a:cxn>
                  <a:cxn ang="0">
                    <a:pos x="9" y="146"/>
                  </a:cxn>
                  <a:cxn ang="0">
                    <a:pos x="9" y="130"/>
                  </a:cxn>
                  <a:cxn ang="0">
                    <a:pos x="0" y="130"/>
                  </a:cxn>
                </a:cxnLst>
                <a:rect l="0" t="0" r="r" b="b"/>
                <a:pathLst>
                  <a:path w="196" h="146">
                    <a:moveTo>
                      <a:pt x="0" y="130"/>
                    </a:moveTo>
                    <a:lnTo>
                      <a:pt x="55" y="76"/>
                    </a:lnTo>
                    <a:lnTo>
                      <a:pt x="117" y="54"/>
                    </a:lnTo>
                    <a:lnTo>
                      <a:pt x="162" y="0"/>
                    </a:lnTo>
                    <a:lnTo>
                      <a:pt x="175" y="0"/>
                    </a:lnTo>
                    <a:lnTo>
                      <a:pt x="175" y="11"/>
                    </a:lnTo>
                    <a:lnTo>
                      <a:pt x="196" y="0"/>
                    </a:lnTo>
                    <a:lnTo>
                      <a:pt x="184" y="11"/>
                    </a:lnTo>
                    <a:lnTo>
                      <a:pt x="196" y="11"/>
                    </a:lnTo>
                    <a:lnTo>
                      <a:pt x="184" y="29"/>
                    </a:lnTo>
                    <a:lnTo>
                      <a:pt x="141" y="54"/>
                    </a:lnTo>
                    <a:lnTo>
                      <a:pt x="141" y="76"/>
                    </a:lnTo>
                    <a:lnTo>
                      <a:pt x="98" y="91"/>
                    </a:lnTo>
                    <a:lnTo>
                      <a:pt x="55" y="130"/>
                    </a:lnTo>
                    <a:lnTo>
                      <a:pt x="18" y="146"/>
                    </a:lnTo>
                    <a:lnTo>
                      <a:pt x="9" y="146"/>
                    </a:lnTo>
                    <a:lnTo>
                      <a:pt x="9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4" name="Freeform 412">
                <a:extLst>
                  <a:ext uri="{FF2B5EF4-FFF2-40B4-BE49-F238E27FC236}">
                    <a16:creationId xmlns:a16="http://schemas.microsoft.com/office/drawing/2014/main" id="{DC125181-3DF7-4510-8F90-3C029DAA17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48125" y="4869714"/>
                <a:ext cx="57176" cy="735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" y="11"/>
                  </a:cxn>
                  <a:cxn ang="0">
                    <a:pos x="42" y="54"/>
                  </a:cxn>
                  <a:cxn ang="0">
                    <a:pos x="30" y="54"/>
                  </a:cxn>
                  <a:cxn ang="0">
                    <a:pos x="9" y="28"/>
                  </a:cxn>
                  <a:cxn ang="0">
                    <a:pos x="0" y="0"/>
                  </a:cxn>
                </a:cxnLst>
                <a:rect l="0" t="0" r="r" b="b"/>
                <a:pathLst>
                  <a:path w="42" h="54">
                    <a:moveTo>
                      <a:pt x="0" y="0"/>
                    </a:moveTo>
                    <a:lnTo>
                      <a:pt x="18" y="11"/>
                    </a:lnTo>
                    <a:lnTo>
                      <a:pt x="42" y="54"/>
                    </a:lnTo>
                    <a:lnTo>
                      <a:pt x="30" y="54"/>
                    </a:lnTo>
                    <a:lnTo>
                      <a:pt x="9" y="2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5" name="Freeform 6">
                <a:extLst>
                  <a:ext uri="{FF2B5EF4-FFF2-40B4-BE49-F238E27FC236}">
                    <a16:creationId xmlns:a16="http://schemas.microsoft.com/office/drawing/2014/main" id="{C90D4E62-FC28-4E12-8750-6CF0B07B2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324" y="3414460"/>
                <a:ext cx="390703" cy="404315"/>
              </a:xfrm>
              <a:custGeom>
                <a:avLst/>
                <a:gdLst/>
                <a:ahLst/>
                <a:cxnLst>
                  <a:cxn ang="0">
                    <a:pos x="241" y="246"/>
                  </a:cxn>
                  <a:cxn ang="0">
                    <a:pos x="229" y="246"/>
                  </a:cxn>
                  <a:cxn ang="0">
                    <a:pos x="219" y="256"/>
                  </a:cxn>
                  <a:cxn ang="0">
                    <a:pos x="186" y="256"/>
                  </a:cxn>
                  <a:cxn ang="0">
                    <a:pos x="165" y="272"/>
                  </a:cxn>
                  <a:cxn ang="0">
                    <a:pos x="143" y="256"/>
                  </a:cxn>
                  <a:cxn ang="0">
                    <a:pos x="119" y="256"/>
                  </a:cxn>
                  <a:cxn ang="0">
                    <a:pos x="98" y="246"/>
                  </a:cxn>
                  <a:cxn ang="0">
                    <a:pos x="76" y="246"/>
                  </a:cxn>
                  <a:cxn ang="0">
                    <a:pos x="67" y="272"/>
                  </a:cxn>
                  <a:cxn ang="0">
                    <a:pos x="67" y="297"/>
                  </a:cxn>
                  <a:cxn ang="0">
                    <a:pos x="55" y="272"/>
                  </a:cxn>
                  <a:cxn ang="0">
                    <a:pos x="43" y="282"/>
                  </a:cxn>
                  <a:cxn ang="0">
                    <a:pos x="34" y="272"/>
                  </a:cxn>
                  <a:cxn ang="0">
                    <a:pos x="21" y="272"/>
                  </a:cxn>
                  <a:cxn ang="0">
                    <a:pos x="0" y="232"/>
                  </a:cxn>
                  <a:cxn ang="0">
                    <a:pos x="0" y="206"/>
                  </a:cxn>
                  <a:cxn ang="0">
                    <a:pos x="67" y="191"/>
                  </a:cxn>
                  <a:cxn ang="0">
                    <a:pos x="76" y="181"/>
                  </a:cxn>
                  <a:cxn ang="0">
                    <a:pos x="76" y="116"/>
                  </a:cxn>
                  <a:cxn ang="0">
                    <a:pos x="98" y="102"/>
                  </a:cxn>
                  <a:cxn ang="0">
                    <a:pos x="210" y="0"/>
                  </a:cxn>
                  <a:cxn ang="0">
                    <a:pos x="250" y="0"/>
                  </a:cxn>
                  <a:cxn ang="0">
                    <a:pos x="262" y="14"/>
                  </a:cxn>
                  <a:cxn ang="0">
                    <a:pos x="262" y="50"/>
                  </a:cxn>
                  <a:cxn ang="0">
                    <a:pos x="274" y="80"/>
                  </a:cxn>
                  <a:cxn ang="0">
                    <a:pos x="287" y="80"/>
                  </a:cxn>
                  <a:cxn ang="0">
                    <a:pos x="274" y="155"/>
                  </a:cxn>
                  <a:cxn ang="0">
                    <a:pos x="241" y="232"/>
                  </a:cxn>
                  <a:cxn ang="0">
                    <a:pos x="241" y="246"/>
                  </a:cxn>
                </a:cxnLst>
                <a:rect l="0" t="0" r="r" b="b"/>
                <a:pathLst>
                  <a:path w="287" h="297">
                    <a:moveTo>
                      <a:pt x="241" y="246"/>
                    </a:moveTo>
                    <a:lnTo>
                      <a:pt x="229" y="246"/>
                    </a:lnTo>
                    <a:lnTo>
                      <a:pt x="219" y="256"/>
                    </a:lnTo>
                    <a:lnTo>
                      <a:pt x="186" y="256"/>
                    </a:lnTo>
                    <a:lnTo>
                      <a:pt x="165" y="272"/>
                    </a:lnTo>
                    <a:lnTo>
                      <a:pt x="143" y="256"/>
                    </a:lnTo>
                    <a:lnTo>
                      <a:pt x="119" y="256"/>
                    </a:lnTo>
                    <a:lnTo>
                      <a:pt x="98" y="246"/>
                    </a:lnTo>
                    <a:lnTo>
                      <a:pt x="76" y="246"/>
                    </a:lnTo>
                    <a:lnTo>
                      <a:pt x="67" y="272"/>
                    </a:lnTo>
                    <a:lnTo>
                      <a:pt x="67" y="297"/>
                    </a:lnTo>
                    <a:lnTo>
                      <a:pt x="55" y="272"/>
                    </a:lnTo>
                    <a:lnTo>
                      <a:pt x="43" y="282"/>
                    </a:lnTo>
                    <a:lnTo>
                      <a:pt x="34" y="272"/>
                    </a:lnTo>
                    <a:lnTo>
                      <a:pt x="21" y="272"/>
                    </a:lnTo>
                    <a:lnTo>
                      <a:pt x="0" y="232"/>
                    </a:lnTo>
                    <a:lnTo>
                      <a:pt x="0" y="206"/>
                    </a:lnTo>
                    <a:lnTo>
                      <a:pt x="67" y="191"/>
                    </a:lnTo>
                    <a:lnTo>
                      <a:pt x="76" y="181"/>
                    </a:lnTo>
                    <a:lnTo>
                      <a:pt x="76" y="116"/>
                    </a:lnTo>
                    <a:lnTo>
                      <a:pt x="98" y="102"/>
                    </a:lnTo>
                    <a:lnTo>
                      <a:pt x="210" y="0"/>
                    </a:lnTo>
                    <a:lnTo>
                      <a:pt x="250" y="0"/>
                    </a:lnTo>
                    <a:lnTo>
                      <a:pt x="262" y="14"/>
                    </a:lnTo>
                    <a:lnTo>
                      <a:pt x="262" y="50"/>
                    </a:lnTo>
                    <a:lnTo>
                      <a:pt x="274" y="80"/>
                    </a:lnTo>
                    <a:lnTo>
                      <a:pt x="287" y="80"/>
                    </a:lnTo>
                    <a:lnTo>
                      <a:pt x="274" y="155"/>
                    </a:lnTo>
                    <a:lnTo>
                      <a:pt x="241" y="232"/>
                    </a:lnTo>
                    <a:lnTo>
                      <a:pt x="241" y="2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6" name="Freeform 8">
                <a:extLst>
                  <a:ext uri="{FF2B5EF4-FFF2-40B4-BE49-F238E27FC236}">
                    <a16:creationId xmlns:a16="http://schemas.microsoft.com/office/drawing/2014/main" id="{A7C78B54-57E6-44B8-815A-CDE7A1177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4223" y="3749347"/>
                <a:ext cx="283158" cy="310384"/>
              </a:xfrm>
              <a:custGeom>
                <a:avLst/>
                <a:gdLst/>
                <a:ahLst/>
                <a:cxnLst>
                  <a:cxn ang="0">
                    <a:pos x="208" y="10"/>
                  </a:cxn>
                  <a:cxn ang="0">
                    <a:pos x="208" y="24"/>
                  </a:cxn>
                  <a:cxn ang="0">
                    <a:pos x="208" y="50"/>
                  </a:cxn>
                  <a:cxn ang="0">
                    <a:pos x="198" y="61"/>
                  </a:cxn>
                  <a:cxn ang="0">
                    <a:pos x="186" y="115"/>
                  </a:cxn>
                  <a:cxn ang="0">
                    <a:pos x="176" y="126"/>
                  </a:cxn>
                  <a:cxn ang="0">
                    <a:pos x="167" y="166"/>
                  </a:cxn>
                  <a:cxn ang="0">
                    <a:pos x="155" y="180"/>
                  </a:cxn>
                  <a:cxn ang="0">
                    <a:pos x="143" y="166"/>
                  </a:cxn>
                  <a:cxn ang="0">
                    <a:pos x="131" y="166"/>
                  </a:cxn>
                  <a:cxn ang="0">
                    <a:pos x="109" y="217"/>
                  </a:cxn>
                  <a:cxn ang="0">
                    <a:pos x="54" y="228"/>
                  </a:cxn>
                  <a:cxn ang="0">
                    <a:pos x="54" y="217"/>
                  </a:cxn>
                  <a:cxn ang="0">
                    <a:pos x="45" y="191"/>
                  </a:cxn>
                  <a:cxn ang="0">
                    <a:pos x="23" y="180"/>
                  </a:cxn>
                  <a:cxn ang="0">
                    <a:pos x="0" y="180"/>
                  </a:cxn>
                  <a:cxn ang="0">
                    <a:pos x="0" y="126"/>
                  </a:cxn>
                  <a:cxn ang="0">
                    <a:pos x="23" y="76"/>
                  </a:cxn>
                  <a:cxn ang="0">
                    <a:pos x="23" y="50"/>
                  </a:cxn>
                  <a:cxn ang="0">
                    <a:pos x="23" y="24"/>
                  </a:cxn>
                  <a:cxn ang="0">
                    <a:pos x="33" y="0"/>
                  </a:cxn>
                  <a:cxn ang="0">
                    <a:pos x="54" y="0"/>
                  </a:cxn>
                  <a:cxn ang="0">
                    <a:pos x="76" y="10"/>
                  </a:cxn>
                  <a:cxn ang="0">
                    <a:pos x="100" y="10"/>
                  </a:cxn>
                  <a:cxn ang="0">
                    <a:pos x="122" y="24"/>
                  </a:cxn>
                  <a:cxn ang="0">
                    <a:pos x="143" y="10"/>
                  </a:cxn>
                  <a:cxn ang="0">
                    <a:pos x="176" y="10"/>
                  </a:cxn>
                  <a:cxn ang="0">
                    <a:pos x="186" y="0"/>
                  </a:cxn>
                  <a:cxn ang="0">
                    <a:pos x="198" y="0"/>
                  </a:cxn>
                  <a:cxn ang="0">
                    <a:pos x="208" y="10"/>
                  </a:cxn>
                </a:cxnLst>
                <a:rect l="0" t="0" r="r" b="b"/>
                <a:pathLst>
                  <a:path w="208" h="228">
                    <a:moveTo>
                      <a:pt x="208" y="10"/>
                    </a:moveTo>
                    <a:lnTo>
                      <a:pt x="208" y="24"/>
                    </a:lnTo>
                    <a:lnTo>
                      <a:pt x="208" y="50"/>
                    </a:lnTo>
                    <a:lnTo>
                      <a:pt x="198" y="61"/>
                    </a:lnTo>
                    <a:lnTo>
                      <a:pt x="186" y="115"/>
                    </a:lnTo>
                    <a:lnTo>
                      <a:pt x="176" y="126"/>
                    </a:lnTo>
                    <a:lnTo>
                      <a:pt x="167" y="166"/>
                    </a:lnTo>
                    <a:lnTo>
                      <a:pt x="155" y="180"/>
                    </a:lnTo>
                    <a:lnTo>
                      <a:pt x="143" y="166"/>
                    </a:lnTo>
                    <a:lnTo>
                      <a:pt x="131" y="166"/>
                    </a:lnTo>
                    <a:lnTo>
                      <a:pt x="109" y="217"/>
                    </a:lnTo>
                    <a:lnTo>
                      <a:pt x="54" y="228"/>
                    </a:lnTo>
                    <a:lnTo>
                      <a:pt x="54" y="217"/>
                    </a:lnTo>
                    <a:lnTo>
                      <a:pt x="45" y="191"/>
                    </a:lnTo>
                    <a:lnTo>
                      <a:pt x="23" y="180"/>
                    </a:lnTo>
                    <a:lnTo>
                      <a:pt x="0" y="180"/>
                    </a:lnTo>
                    <a:lnTo>
                      <a:pt x="0" y="126"/>
                    </a:lnTo>
                    <a:lnTo>
                      <a:pt x="23" y="76"/>
                    </a:lnTo>
                    <a:lnTo>
                      <a:pt x="23" y="50"/>
                    </a:lnTo>
                    <a:lnTo>
                      <a:pt x="23" y="24"/>
                    </a:lnTo>
                    <a:lnTo>
                      <a:pt x="33" y="0"/>
                    </a:lnTo>
                    <a:lnTo>
                      <a:pt x="54" y="0"/>
                    </a:lnTo>
                    <a:lnTo>
                      <a:pt x="76" y="10"/>
                    </a:lnTo>
                    <a:lnTo>
                      <a:pt x="100" y="10"/>
                    </a:lnTo>
                    <a:lnTo>
                      <a:pt x="122" y="24"/>
                    </a:lnTo>
                    <a:lnTo>
                      <a:pt x="143" y="10"/>
                    </a:lnTo>
                    <a:lnTo>
                      <a:pt x="176" y="10"/>
                    </a:lnTo>
                    <a:lnTo>
                      <a:pt x="186" y="0"/>
                    </a:lnTo>
                    <a:lnTo>
                      <a:pt x="198" y="0"/>
                    </a:lnTo>
                    <a:lnTo>
                      <a:pt x="208" y="1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7" name="Freeform 10">
                <a:extLst>
                  <a:ext uri="{FF2B5EF4-FFF2-40B4-BE49-F238E27FC236}">
                    <a16:creationId xmlns:a16="http://schemas.microsoft.com/office/drawing/2014/main" id="{438C7B68-0D3E-45BF-8A8F-3FC5A1515E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2356" y="3835111"/>
                <a:ext cx="330805" cy="264099"/>
              </a:xfrm>
              <a:custGeom>
                <a:avLst/>
                <a:gdLst/>
                <a:ahLst/>
                <a:cxnLst>
                  <a:cxn ang="0">
                    <a:pos x="0" y="154"/>
                  </a:cxn>
                  <a:cxn ang="0">
                    <a:pos x="24" y="194"/>
                  </a:cxn>
                  <a:cxn ang="0">
                    <a:pos x="34" y="183"/>
                  </a:cxn>
                  <a:cxn ang="0">
                    <a:pos x="43" y="183"/>
                  </a:cxn>
                  <a:cxn ang="0">
                    <a:pos x="56" y="183"/>
                  </a:cxn>
                  <a:cxn ang="0">
                    <a:pos x="79" y="183"/>
                  </a:cxn>
                  <a:cxn ang="0">
                    <a:pos x="89" y="140"/>
                  </a:cxn>
                  <a:cxn ang="0">
                    <a:pos x="101" y="140"/>
                  </a:cxn>
                  <a:cxn ang="0">
                    <a:pos x="111" y="154"/>
                  </a:cxn>
                  <a:cxn ang="0">
                    <a:pos x="144" y="165"/>
                  </a:cxn>
                  <a:cxn ang="0">
                    <a:pos x="156" y="154"/>
                  </a:cxn>
                  <a:cxn ang="0">
                    <a:pos x="243" y="140"/>
                  </a:cxn>
                  <a:cxn ang="0">
                    <a:pos x="186" y="64"/>
                  </a:cxn>
                  <a:cxn ang="0">
                    <a:pos x="166" y="53"/>
                  </a:cxn>
                  <a:cxn ang="0">
                    <a:pos x="166" y="28"/>
                  </a:cxn>
                  <a:cxn ang="0">
                    <a:pos x="144" y="0"/>
                  </a:cxn>
                  <a:cxn ang="0">
                    <a:pos x="131" y="14"/>
                  </a:cxn>
                  <a:cxn ang="0">
                    <a:pos x="111" y="39"/>
                  </a:cxn>
                  <a:cxn ang="0">
                    <a:pos x="79" y="53"/>
                  </a:cxn>
                  <a:cxn ang="0">
                    <a:pos x="79" y="64"/>
                  </a:cxn>
                  <a:cxn ang="0">
                    <a:pos x="64" y="79"/>
                  </a:cxn>
                  <a:cxn ang="0">
                    <a:pos x="12" y="90"/>
                  </a:cxn>
                  <a:cxn ang="0">
                    <a:pos x="0" y="129"/>
                  </a:cxn>
                  <a:cxn ang="0">
                    <a:pos x="0" y="154"/>
                  </a:cxn>
                </a:cxnLst>
                <a:rect l="0" t="0" r="r" b="b"/>
                <a:pathLst>
                  <a:path w="243" h="194">
                    <a:moveTo>
                      <a:pt x="0" y="154"/>
                    </a:moveTo>
                    <a:lnTo>
                      <a:pt x="24" y="194"/>
                    </a:lnTo>
                    <a:lnTo>
                      <a:pt x="34" y="183"/>
                    </a:lnTo>
                    <a:lnTo>
                      <a:pt x="43" y="183"/>
                    </a:lnTo>
                    <a:lnTo>
                      <a:pt x="56" y="183"/>
                    </a:lnTo>
                    <a:lnTo>
                      <a:pt x="79" y="183"/>
                    </a:lnTo>
                    <a:lnTo>
                      <a:pt x="89" y="140"/>
                    </a:lnTo>
                    <a:lnTo>
                      <a:pt x="101" y="140"/>
                    </a:lnTo>
                    <a:lnTo>
                      <a:pt x="111" y="154"/>
                    </a:lnTo>
                    <a:lnTo>
                      <a:pt x="144" y="165"/>
                    </a:lnTo>
                    <a:lnTo>
                      <a:pt x="156" y="154"/>
                    </a:lnTo>
                    <a:lnTo>
                      <a:pt x="243" y="140"/>
                    </a:lnTo>
                    <a:lnTo>
                      <a:pt x="186" y="64"/>
                    </a:lnTo>
                    <a:lnTo>
                      <a:pt x="166" y="53"/>
                    </a:lnTo>
                    <a:lnTo>
                      <a:pt x="166" y="28"/>
                    </a:lnTo>
                    <a:lnTo>
                      <a:pt x="144" y="0"/>
                    </a:lnTo>
                    <a:lnTo>
                      <a:pt x="131" y="14"/>
                    </a:lnTo>
                    <a:lnTo>
                      <a:pt x="111" y="39"/>
                    </a:lnTo>
                    <a:lnTo>
                      <a:pt x="79" y="53"/>
                    </a:lnTo>
                    <a:lnTo>
                      <a:pt x="79" y="64"/>
                    </a:lnTo>
                    <a:lnTo>
                      <a:pt x="64" y="79"/>
                    </a:lnTo>
                    <a:lnTo>
                      <a:pt x="12" y="90"/>
                    </a:lnTo>
                    <a:lnTo>
                      <a:pt x="0" y="129"/>
                    </a:lnTo>
                    <a:lnTo>
                      <a:pt x="0" y="15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8" name="Freeform 12">
                <a:extLst>
                  <a:ext uri="{FF2B5EF4-FFF2-40B4-BE49-F238E27FC236}">
                    <a16:creationId xmlns:a16="http://schemas.microsoft.com/office/drawing/2014/main" id="{B4723070-3702-4F55-9230-6F5E986BB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5180" y="4027059"/>
                <a:ext cx="479190" cy="613962"/>
              </a:xfrm>
              <a:custGeom>
                <a:avLst/>
                <a:gdLst/>
                <a:ahLst/>
                <a:cxnLst>
                  <a:cxn ang="0">
                    <a:pos x="198" y="14"/>
                  </a:cxn>
                  <a:cxn ang="0">
                    <a:pos x="284" y="0"/>
                  </a:cxn>
                  <a:cxn ang="0">
                    <a:pos x="296" y="14"/>
                  </a:cxn>
                  <a:cxn ang="0">
                    <a:pos x="320" y="14"/>
                  </a:cxn>
                  <a:cxn ang="0">
                    <a:pos x="339" y="43"/>
                  </a:cxn>
                  <a:cxn ang="0">
                    <a:pos x="339" y="64"/>
                  </a:cxn>
                  <a:cxn ang="0">
                    <a:pos x="352" y="79"/>
                  </a:cxn>
                  <a:cxn ang="0">
                    <a:pos x="339" y="89"/>
                  </a:cxn>
                  <a:cxn ang="0">
                    <a:pos x="330" y="115"/>
                  </a:cxn>
                  <a:cxn ang="0">
                    <a:pos x="320" y="155"/>
                  </a:cxn>
                  <a:cxn ang="0">
                    <a:pos x="305" y="180"/>
                  </a:cxn>
                  <a:cxn ang="0">
                    <a:pos x="305" y="194"/>
                  </a:cxn>
                  <a:cxn ang="0">
                    <a:pos x="320" y="205"/>
                  </a:cxn>
                  <a:cxn ang="0">
                    <a:pos x="320" y="234"/>
                  </a:cxn>
                  <a:cxn ang="0">
                    <a:pos x="320" y="281"/>
                  </a:cxn>
                  <a:cxn ang="0">
                    <a:pos x="339" y="325"/>
                  </a:cxn>
                  <a:cxn ang="0">
                    <a:pos x="330" y="325"/>
                  </a:cxn>
                  <a:cxn ang="0">
                    <a:pos x="305" y="335"/>
                  </a:cxn>
                  <a:cxn ang="0">
                    <a:pos x="305" y="350"/>
                  </a:cxn>
                  <a:cxn ang="0">
                    <a:pos x="296" y="411"/>
                  </a:cxn>
                  <a:cxn ang="0">
                    <a:pos x="305" y="426"/>
                  </a:cxn>
                  <a:cxn ang="0">
                    <a:pos x="320" y="426"/>
                  </a:cxn>
                  <a:cxn ang="0">
                    <a:pos x="320" y="451"/>
                  </a:cxn>
                  <a:cxn ang="0">
                    <a:pos x="296" y="436"/>
                  </a:cxn>
                  <a:cxn ang="0">
                    <a:pos x="262" y="411"/>
                  </a:cxn>
                  <a:cxn ang="0">
                    <a:pos x="253" y="411"/>
                  </a:cxn>
                  <a:cxn ang="0">
                    <a:pos x="220" y="390"/>
                  </a:cxn>
                  <a:cxn ang="0">
                    <a:pos x="173" y="400"/>
                  </a:cxn>
                  <a:cxn ang="0">
                    <a:pos x="186" y="390"/>
                  </a:cxn>
                  <a:cxn ang="0">
                    <a:pos x="173" y="361"/>
                  </a:cxn>
                  <a:cxn ang="0">
                    <a:pos x="173" y="309"/>
                  </a:cxn>
                  <a:cxn ang="0">
                    <a:pos x="153" y="299"/>
                  </a:cxn>
                  <a:cxn ang="0">
                    <a:pos x="131" y="299"/>
                  </a:cxn>
                  <a:cxn ang="0">
                    <a:pos x="131" y="325"/>
                  </a:cxn>
                  <a:cxn ang="0">
                    <a:pos x="98" y="325"/>
                  </a:cxn>
                  <a:cxn ang="0">
                    <a:pos x="85" y="309"/>
                  </a:cxn>
                  <a:cxn ang="0">
                    <a:pos x="76" y="270"/>
                  </a:cxn>
                  <a:cxn ang="0">
                    <a:pos x="67" y="270"/>
                  </a:cxn>
                  <a:cxn ang="0">
                    <a:pos x="21" y="270"/>
                  </a:cxn>
                  <a:cxn ang="0">
                    <a:pos x="0" y="281"/>
                  </a:cxn>
                  <a:cxn ang="0">
                    <a:pos x="0" y="270"/>
                  </a:cxn>
                  <a:cxn ang="0">
                    <a:pos x="0" y="245"/>
                  </a:cxn>
                  <a:cxn ang="0">
                    <a:pos x="9" y="245"/>
                  </a:cxn>
                  <a:cxn ang="0">
                    <a:pos x="21" y="245"/>
                  </a:cxn>
                  <a:cxn ang="0">
                    <a:pos x="31" y="234"/>
                  </a:cxn>
                  <a:cxn ang="0">
                    <a:pos x="42" y="245"/>
                  </a:cxn>
                  <a:cxn ang="0">
                    <a:pos x="67" y="220"/>
                  </a:cxn>
                  <a:cxn ang="0">
                    <a:pos x="76" y="180"/>
                  </a:cxn>
                  <a:cxn ang="0">
                    <a:pos x="98" y="144"/>
                  </a:cxn>
                  <a:cxn ang="0">
                    <a:pos x="106" y="79"/>
                  </a:cxn>
                  <a:cxn ang="0">
                    <a:pos x="122" y="43"/>
                  </a:cxn>
                  <a:cxn ang="0">
                    <a:pos x="131" y="0"/>
                  </a:cxn>
                  <a:cxn ang="0">
                    <a:pos x="143" y="0"/>
                  </a:cxn>
                  <a:cxn ang="0">
                    <a:pos x="153" y="14"/>
                  </a:cxn>
                  <a:cxn ang="0">
                    <a:pos x="186" y="24"/>
                  </a:cxn>
                  <a:cxn ang="0">
                    <a:pos x="198" y="14"/>
                  </a:cxn>
                </a:cxnLst>
                <a:rect l="0" t="0" r="r" b="b"/>
                <a:pathLst>
                  <a:path w="352" h="451">
                    <a:moveTo>
                      <a:pt x="198" y="14"/>
                    </a:moveTo>
                    <a:lnTo>
                      <a:pt x="284" y="0"/>
                    </a:lnTo>
                    <a:lnTo>
                      <a:pt x="296" y="14"/>
                    </a:lnTo>
                    <a:lnTo>
                      <a:pt x="320" y="14"/>
                    </a:lnTo>
                    <a:lnTo>
                      <a:pt x="339" y="43"/>
                    </a:lnTo>
                    <a:lnTo>
                      <a:pt x="339" y="64"/>
                    </a:lnTo>
                    <a:lnTo>
                      <a:pt x="352" y="79"/>
                    </a:lnTo>
                    <a:lnTo>
                      <a:pt x="339" y="89"/>
                    </a:lnTo>
                    <a:lnTo>
                      <a:pt x="330" y="115"/>
                    </a:lnTo>
                    <a:lnTo>
                      <a:pt x="320" y="155"/>
                    </a:lnTo>
                    <a:lnTo>
                      <a:pt x="305" y="180"/>
                    </a:lnTo>
                    <a:lnTo>
                      <a:pt x="305" y="194"/>
                    </a:lnTo>
                    <a:lnTo>
                      <a:pt x="320" y="205"/>
                    </a:lnTo>
                    <a:lnTo>
                      <a:pt x="320" y="234"/>
                    </a:lnTo>
                    <a:lnTo>
                      <a:pt x="320" y="281"/>
                    </a:lnTo>
                    <a:lnTo>
                      <a:pt x="339" y="325"/>
                    </a:lnTo>
                    <a:lnTo>
                      <a:pt x="330" y="325"/>
                    </a:lnTo>
                    <a:lnTo>
                      <a:pt x="305" y="335"/>
                    </a:lnTo>
                    <a:lnTo>
                      <a:pt x="305" y="350"/>
                    </a:lnTo>
                    <a:lnTo>
                      <a:pt x="296" y="411"/>
                    </a:lnTo>
                    <a:lnTo>
                      <a:pt x="305" y="426"/>
                    </a:lnTo>
                    <a:lnTo>
                      <a:pt x="320" y="426"/>
                    </a:lnTo>
                    <a:lnTo>
                      <a:pt x="320" y="451"/>
                    </a:lnTo>
                    <a:lnTo>
                      <a:pt x="296" y="436"/>
                    </a:lnTo>
                    <a:lnTo>
                      <a:pt x="262" y="411"/>
                    </a:lnTo>
                    <a:lnTo>
                      <a:pt x="253" y="411"/>
                    </a:lnTo>
                    <a:lnTo>
                      <a:pt x="220" y="390"/>
                    </a:lnTo>
                    <a:lnTo>
                      <a:pt x="173" y="400"/>
                    </a:lnTo>
                    <a:lnTo>
                      <a:pt x="186" y="390"/>
                    </a:lnTo>
                    <a:lnTo>
                      <a:pt x="173" y="361"/>
                    </a:lnTo>
                    <a:lnTo>
                      <a:pt x="173" y="309"/>
                    </a:lnTo>
                    <a:lnTo>
                      <a:pt x="153" y="299"/>
                    </a:lnTo>
                    <a:lnTo>
                      <a:pt x="131" y="299"/>
                    </a:lnTo>
                    <a:lnTo>
                      <a:pt x="131" y="325"/>
                    </a:lnTo>
                    <a:lnTo>
                      <a:pt x="98" y="325"/>
                    </a:lnTo>
                    <a:lnTo>
                      <a:pt x="85" y="309"/>
                    </a:lnTo>
                    <a:lnTo>
                      <a:pt x="76" y="270"/>
                    </a:lnTo>
                    <a:lnTo>
                      <a:pt x="67" y="270"/>
                    </a:lnTo>
                    <a:lnTo>
                      <a:pt x="21" y="270"/>
                    </a:lnTo>
                    <a:lnTo>
                      <a:pt x="0" y="281"/>
                    </a:lnTo>
                    <a:lnTo>
                      <a:pt x="0" y="270"/>
                    </a:lnTo>
                    <a:lnTo>
                      <a:pt x="0" y="245"/>
                    </a:lnTo>
                    <a:lnTo>
                      <a:pt x="9" y="245"/>
                    </a:lnTo>
                    <a:lnTo>
                      <a:pt x="21" y="245"/>
                    </a:lnTo>
                    <a:lnTo>
                      <a:pt x="31" y="234"/>
                    </a:lnTo>
                    <a:lnTo>
                      <a:pt x="42" y="245"/>
                    </a:lnTo>
                    <a:lnTo>
                      <a:pt x="67" y="220"/>
                    </a:lnTo>
                    <a:lnTo>
                      <a:pt x="76" y="180"/>
                    </a:lnTo>
                    <a:lnTo>
                      <a:pt x="98" y="144"/>
                    </a:lnTo>
                    <a:lnTo>
                      <a:pt x="106" y="79"/>
                    </a:lnTo>
                    <a:lnTo>
                      <a:pt x="122" y="43"/>
                    </a:lnTo>
                    <a:lnTo>
                      <a:pt x="131" y="0"/>
                    </a:lnTo>
                    <a:lnTo>
                      <a:pt x="143" y="0"/>
                    </a:lnTo>
                    <a:lnTo>
                      <a:pt x="153" y="14"/>
                    </a:lnTo>
                    <a:lnTo>
                      <a:pt x="186" y="24"/>
                    </a:lnTo>
                    <a:lnTo>
                      <a:pt x="198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9" name="Freeform 14">
                <a:extLst>
                  <a:ext uri="{FF2B5EF4-FFF2-40B4-BE49-F238E27FC236}">
                    <a16:creationId xmlns:a16="http://schemas.microsoft.com/office/drawing/2014/main" id="{CAE8162D-D316-4B41-9549-52D46E60C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2609" y="3765683"/>
                <a:ext cx="183781" cy="382534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110" y="14"/>
                  </a:cxn>
                  <a:cxn ang="0">
                    <a:pos x="110" y="50"/>
                  </a:cxn>
                  <a:cxn ang="0">
                    <a:pos x="122" y="79"/>
                  </a:cxn>
                  <a:cxn ang="0">
                    <a:pos x="98" y="79"/>
                  </a:cxn>
                  <a:cxn ang="0">
                    <a:pos x="98" y="89"/>
                  </a:cxn>
                  <a:cxn ang="0">
                    <a:pos x="110" y="103"/>
                  </a:cxn>
                  <a:cxn ang="0">
                    <a:pos x="122" y="141"/>
                  </a:cxn>
                  <a:cxn ang="0">
                    <a:pos x="110" y="180"/>
                  </a:cxn>
                  <a:cxn ang="0">
                    <a:pos x="110" y="205"/>
                  </a:cxn>
                  <a:cxn ang="0">
                    <a:pos x="135" y="244"/>
                  </a:cxn>
                  <a:cxn ang="0">
                    <a:pos x="135" y="281"/>
                  </a:cxn>
                  <a:cxn ang="0">
                    <a:pos x="89" y="270"/>
                  </a:cxn>
                  <a:cxn ang="0">
                    <a:pos x="45" y="270"/>
                  </a:cxn>
                  <a:cxn ang="0">
                    <a:pos x="21" y="270"/>
                  </a:cxn>
                  <a:cxn ang="0">
                    <a:pos x="21" y="244"/>
                  </a:cxn>
                  <a:cxn ang="0">
                    <a:pos x="12" y="216"/>
                  </a:cxn>
                  <a:cxn ang="0">
                    <a:pos x="0" y="216"/>
                  </a:cxn>
                  <a:cxn ang="0">
                    <a:pos x="0" y="205"/>
                  </a:cxn>
                  <a:cxn ang="0">
                    <a:pos x="21" y="154"/>
                  </a:cxn>
                  <a:cxn ang="0">
                    <a:pos x="34" y="154"/>
                  </a:cxn>
                  <a:cxn ang="0">
                    <a:pos x="45" y="168"/>
                  </a:cxn>
                  <a:cxn ang="0">
                    <a:pos x="58" y="154"/>
                  </a:cxn>
                  <a:cxn ang="0">
                    <a:pos x="67" y="115"/>
                  </a:cxn>
                  <a:cxn ang="0">
                    <a:pos x="76" y="103"/>
                  </a:cxn>
                  <a:cxn ang="0">
                    <a:pos x="89" y="50"/>
                  </a:cxn>
                  <a:cxn ang="0">
                    <a:pos x="98" y="39"/>
                  </a:cxn>
                  <a:cxn ang="0">
                    <a:pos x="98" y="14"/>
                  </a:cxn>
                  <a:cxn ang="0">
                    <a:pos x="98" y="0"/>
                  </a:cxn>
                </a:cxnLst>
                <a:rect l="0" t="0" r="r" b="b"/>
                <a:pathLst>
                  <a:path w="135" h="281">
                    <a:moveTo>
                      <a:pt x="98" y="0"/>
                    </a:moveTo>
                    <a:lnTo>
                      <a:pt x="110" y="14"/>
                    </a:lnTo>
                    <a:lnTo>
                      <a:pt x="110" y="50"/>
                    </a:lnTo>
                    <a:lnTo>
                      <a:pt x="122" y="79"/>
                    </a:lnTo>
                    <a:lnTo>
                      <a:pt x="98" y="79"/>
                    </a:lnTo>
                    <a:lnTo>
                      <a:pt x="98" y="89"/>
                    </a:lnTo>
                    <a:lnTo>
                      <a:pt x="110" y="103"/>
                    </a:lnTo>
                    <a:lnTo>
                      <a:pt x="122" y="141"/>
                    </a:lnTo>
                    <a:lnTo>
                      <a:pt x="110" y="180"/>
                    </a:lnTo>
                    <a:lnTo>
                      <a:pt x="110" y="205"/>
                    </a:lnTo>
                    <a:lnTo>
                      <a:pt x="135" y="244"/>
                    </a:lnTo>
                    <a:lnTo>
                      <a:pt x="135" y="281"/>
                    </a:lnTo>
                    <a:lnTo>
                      <a:pt x="89" y="270"/>
                    </a:lnTo>
                    <a:lnTo>
                      <a:pt x="45" y="270"/>
                    </a:lnTo>
                    <a:lnTo>
                      <a:pt x="21" y="270"/>
                    </a:lnTo>
                    <a:lnTo>
                      <a:pt x="21" y="244"/>
                    </a:lnTo>
                    <a:lnTo>
                      <a:pt x="12" y="216"/>
                    </a:lnTo>
                    <a:lnTo>
                      <a:pt x="0" y="216"/>
                    </a:lnTo>
                    <a:lnTo>
                      <a:pt x="0" y="205"/>
                    </a:lnTo>
                    <a:lnTo>
                      <a:pt x="21" y="154"/>
                    </a:lnTo>
                    <a:lnTo>
                      <a:pt x="34" y="154"/>
                    </a:lnTo>
                    <a:lnTo>
                      <a:pt x="45" y="168"/>
                    </a:lnTo>
                    <a:lnTo>
                      <a:pt x="58" y="154"/>
                    </a:lnTo>
                    <a:lnTo>
                      <a:pt x="67" y="115"/>
                    </a:lnTo>
                    <a:lnTo>
                      <a:pt x="76" y="103"/>
                    </a:lnTo>
                    <a:lnTo>
                      <a:pt x="89" y="50"/>
                    </a:lnTo>
                    <a:lnTo>
                      <a:pt x="98" y="39"/>
                    </a:lnTo>
                    <a:lnTo>
                      <a:pt x="98" y="14"/>
                    </a:lnTo>
                    <a:lnTo>
                      <a:pt x="9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0" name="Freeform 16">
                <a:extLst>
                  <a:ext uri="{FF2B5EF4-FFF2-40B4-BE49-F238E27FC236}">
                    <a16:creationId xmlns:a16="http://schemas.microsoft.com/office/drawing/2014/main" id="{B7C32B0A-C10E-4287-B745-7461530AA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5130" y="3433518"/>
                <a:ext cx="254570" cy="521390"/>
              </a:xfrm>
              <a:custGeom>
                <a:avLst/>
                <a:gdLst/>
                <a:ahLst/>
                <a:cxnLst>
                  <a:cxn ang="0">
                    <a:pos x="20" y="36"/>
                  </a:cxn>
                  <a:cxn ang="0">
                    <a:pos x="20" y="0"/>
                  </a:cxn>
                  <a:cxn ang="0">
                    <a:pos x="55" y="0"/>
                  </a:cxn>
                  <a:cxn ang="0">
                    <a:pos x="187" y="86"/>
                  </a:cxn>
                  <a:cxn ang="0">
                    <a:pos x="187" y="166"/>
                  </a:cxn>
                  <a:cxn ang="0">
                    <a:pos x="187" y="177"/>
                  </a:cxn>
                  <a:cxn ang="0">
                    <a:pos x="177" y="177"/>
                  </a:cxn>
                  <a:cxn ang="0">
                    <a:pos x="152" y="241"/>
                  </a:cxn>
                  <a:cxn ang="0">
                    <a:pos x="177" y="282"/>
                  </a:cxn>
                  <a:cxn ang="0">
                    <a:pos x="165" y="293"/>
                  </a:cxn>
                  <a:cxn ang="0">
                    <a:pos x="152" y="307"/>
                  </a:cxn>
                  <a:cxn ang="0">
                    <a:pos x="131" y="332"/>
                  </a:cxn>
                  <a:cxn ang="0">
                    <a:pos x="100" y="346"/>
                  </a:cxn>
                  <a:cxn ang="0">
                    <a:pos x="100" y="358"/>
                  </a:cxn>
                  <a:cxn ang="0">
                    <a:pos x="85" y="372"/>
                  </a:cxn>
                  <a:cxn ang="0">
                    <a:pos x="33" y="383"/>
                  </a:cxn>
                  <a:cxn ang="0">
                    <a:pos x="20" y="346"/>
                  </a:cxn>
                  <a:cxn ang="0">
                    <a:pos x="9" y="332"/>
                  </a:cxn>
                  <a:cxn ang="0">
                    <a:pos x="9" y="322"/>
                  </a:cxn>
                  <a:cxn ang="0">
                    <a:pos x="33" y="322"/>
                  </a:cxn>
                  <a:cxn ang="0">
                    <a:pos x="20" y="293"/>
                  </a:cxn>
                  <a:cxn ang="0">
                    <a:pos x="20" y="256"/>
                  </a:cxn>
                  <a:cxn ang="0">
                    <a:pos x="9" y="241"/>
                  </a:cxn>
                  <a:cxn ang="0">
                    <a:pos x="0" y="231"/>
                  </a:cxn>
                  <a:cxn ang="0">
                    <a:pos x="0" y="217"/>
                  </a:cxn>
                  <a:cxn ang="0">
                    <a:pos x="33" y="141"/>
                  </a:cxn>
                  <a:cxn ang="0">
                    <a:pos x="45" y="64"/>
                  </a:cxn>
                  <a:cxn ang="0">
                    <a:pos x="33" y="64"/>
                  </a:cxn>
                  <a:cxn ang="0">
                    <a:pos x="20" y="36"/>
                  </a:cxn>
                </a:cxnLst>
                <a:rect l="0" t="0" r="r" b="b"/>
                <a:pathLst>
                  <a:path w="187" h="383">
                    <a:moveTo>
                      <a:pt x="20" y="36"/>
                    </a:moveTo>
                    <a:lnTo>
                      <a:pt x="20" y="0"/>
                    </a:lnTo>
                    <a:lnTo>
                      <a:pt x="55" y="0"/>
                    </a:lnTo>
                    <a:lnTo>
                      <a:pt x="187" y="86"/>
                    </a:lnTo>
                    <a:lnTo>
                      <a:pt x="187" y="166"/>
                    </a:lnTo>
                    <a:lnTo>
                      <a:pt x="187" y="177"/>
                    </a:lnTo>
                    <a:lnTo>
                      <a:pt x="177" y="177"/>
                    </a:lnTo>
                    <a:lnTo>
                      <a:pt x="152" y="241"/>
                    </a:lnTo>
                    <a:lnTo>
                      <a:pt x="177" y="282"/>
                    </a:lnTo>
                    <a:lnTo>
                      <a:pt x="165" y="293"/>
                    </a:lnTo>
                    <a:lnTo>
                      <a:pt x="152" y="307"/>
                    </a:lnTo>
                    <a:lnTo>
                      <a:pt x="131" y="332"/>
                    </a:lnTo>
                    <a:lnTo>
                      <a:pt x="100" y="346"/>
                    </a:lnTo>
                    <a:lnTo>
                      <a:pt x="100" y="358"/>
                    </a:lnTo>
                    <a:lnTo>
                      <a:pt x="85" y="372"/>
                    </a:lnTo>
                    <a:lnTo>
                      <a:pt x="33" y="383"/>
                    </a:lnTo>
                    <a:lnTo>
                      <a:pt x="20" y="346"/>
                    </a:lnTo>
                    <a:lnTo>
                      <a:pt x="9" y="332"/>
                    </a:lnTo>
                    <a:lnTo>
                      <a:pt x="9" y="322"/>
                    </a:lnTo>
                    <a:lnTo>
                      <a:pt x="33" y="322"/>
                    </a:lnTo>
                    <a:lnTo>
                      <a:pt x="20" y="293"/>
                    </a:lnTo>
                    <a:lnTo>
                      <a:pt x="20" y="256"/>
                    </a:lnTo>
                    <a:lnTo>
                      <a:pt x="9" y="241"/>
                    </a:lnTo>
                    <a:lnTo>
                      <a:pt x="0" y="231"/>
                    </a:lnTo>
                    <a:lnTo>
                      <a:pt x="0" y="217"/>
                    </a:lnTo>
                    <a:lnTo>
                      <a:pt x="33" y="141"/>
                    </a:lnTo>
                    <a:lnTo>
                      <a:pt x="45" y="64"/>
                    </a:lnTo>
                    <a:lnTo>
                      <a:pt x="33" y="64"/>
                    </a:lnTo>
                    <a:lnTo>
                      <a:pt x="20" y="3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1" name="Freeform 24">
                <a:extLst>
                  <a:ext uri="{FF2B5EF4-FFF2-40B4-BE49-F238E27FC236}">
                    <a16:creationId xmlns:a16="http://schemas.microsoft.com/office/drawing/2014/main" id="{6E13752D-3AE4-4117-BEAF-CE1CE1682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3110" y="4307494"/>
                <a:ext cx="44924" cy="175612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0" y="14"/>
                  </a:cxn>
                  <a:cxn ang="0">
                    <a:pos x="0" y="0"/>
                  </a:cxn>
                  <a:cxn ang="0">
                    <a:pos x="24" y="64"/>
                  </a:cxn>
                  <a:cxn ang="0">
                    <a:pos x="15" y="74"/>
                  </a:cxn>
                  <a:cxn ang="0">
                    <a:pos x="33" y="93"/>
                  </a:cxn>
                  <a:cxn ang="0">
                    <a:pos x="33" y="129"/>
                  </a:cxn>
                  <a:cxn ang="0">
                    <a:pos x="24" y="129"/>
                  </a:cxn>
                  <a:cxn ang="0">
                    <a:pos x="24" y="103"/>
                  </a:cxn>
                  <a:cxn ang="0">
                    <a:pos x="0" y="64"/>
                  </a:cxn>
                </a:cxnLst>
                <a:rect l="0" t="0" r="r" b="b"/>
                <a:pathLst>
                  <a:path w="33" h="129">
                    <a:moveTo>
                      <a:pt x="0" y="64"/>
                    </a:moveTo>
                    <a:lnTo>
                      <a:pt x="0" y="14"/>
                    </a:lnTo>
                    <a:lnTo>
                      <a:pt x="0" y="0"/>
                    </a:lnTo>
                    <a:lnTo>
                      <a:pt x="24" y="64"/>
                    </a:lnTo>
                    <a:lnTo>
                      <a:pt x="15" y="74"/>
                    </a:lnTo>
                    <a:lnTo>
                      <a:pt x="33" y="93"/>
                    </a:lnTo>
                    <a:lnTo>
                      <a:pt x="33" y="129"/>
                    </a:lnTo>
                    <a:lnTo>
                      <a:pt x="24" y="129"/>
                    </a:lnTo>
                    <a:lnTo>
                      <a:pt x="24" y="103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2" name="Freeform 86">
                <a:extLst>
                  <a:ext uri="{FF2B5EF4-FFF2-40B4-BE49-F238E27FC236}">
                    <a16:creationId xmlns:a16="http://schemas.microsoft.com/office/drawing/2014/main" id="{2ADE4B66-46F5-4EC3-9CB3-79CAC7B2F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040" y="3784743"/>
                <a:ext cx="179696" cy="172889"/>
              </a:xfrm>
              <a:custGeom>
                <a:avLst/>
                <a:gdLst/>
                <a:ahLst/>
                <a:cxnLst>
                  <a:cxn ang="0">
                    <a:pos x="107" y="127"/>
                  </a:cxn>
                  <a:cxn ang="0">
                    <a:pos x="97" y="127"/>
                  </a:cxn>
                  <a:cxn ang="0">
                    <a:pos x="85" y="101"/>
                  </a:cxn>
                  <a:cxn ang="0">
                    <a:pos x="75" y="101"/>
                  </a:cxn>
                  <a:cxn ang="0">
                    <a:pos x="75" y="89"/>
                  </a:cxn>
                  <a:cxn ang="0">
                    <a:pos x="64" y="65"/>
                  </a:cxn>
                  <a:cxn ang="0">
                    <a:pos x="42" y="65"/>
                  </a:cxn>
                  <a:cxn ang="0">
                    <a:pos x="20" y="75"/>
                  </a:cxn>
                  <a:cxn ang="0">
                    <a:pos x="0" y="36"/>
                  </a:cxn>
                  <a:cxn ang="0">
                    <a:pos x="0" y="24"/>
                  </a:cxn>
                  <a:cxn ang="0">
                    <a:pos x="20" y="24"/>
                  </a:cxn>
                  <a:cxn ang="0">
                    <a:pos x="20" y="0"/>
                  </a:cxn>
                  <a:cxn ang="0">
                    <a:pos x="64" y="0"/>
                  </a:cxn>
                  <a:cxn ang="0">
                    <a:pos x="75" y="10"/>
                  </a:cxn>
                  <a:cxn ang="0">
                    <a:pos x="97" y="0"/>
                  </a:cxn>
                  <a:cxn ang="0">
                    <a:pos x="116" y="50"/>
                  </a:cxn>
                  <a:cxn ang="0">
                    <a:pos x="116" y="75"/>
                  </a:cxn>
                  <a:cxn ang="0">
                    <a:pos x="132" y="101"/>
                  </a:cxn>
                  <a:cxn ang="0">
                    <a:pos x="116" y="101"/>
                  </a:cxn>
                  <a:cxn ang="0">
                    <a:pos x="116" y="115"/>
                  </a:cxn>
                  <a:cxn ang="0">
                    <a:pos x="107" y="127"/>
                  </a:cxn>
                </a:cxnLst>
                <a:rect l="0" t="0" r="r" b="b"/>
                <a:pathLst>
                  <a:path w="132" h="127">
                    <a:moveTo>
                      <a:pt x="107" y="127"/>
                    </a:moveTo>
                    <a:lnTo>
                      <a:pt x="97" y="127"/>
                    </a:lnTo>
                    <a:lnTo>
                      <a:pt x="85" y="101"/>
                    </a:lnTo>
                    <a:lnTo>
                      <a:pt x="75" y="101"/>
                    </a:lnTo>
                    <a:lnTo>
                      <a:pt x="75" y="89"/>
                    </a:lnTo>
                    <a:lnTo>
                      <a:pt x="64" y="65"/>
                    </a:lnTo>
                    <a:lnTo>
                      <a:pt x="42" y="65"/>
                    </a:lnTo>
                    <a:lnTo>
                      <a:pt x="20" y="75"/>
                    </a:lnTo>
                    <a:lnTo>
                      <a:pt x="0" y="36"/>
                    </a:lnTo>
                    <a:lnTo>
                      <a:pt x="0" y="24"/>
                    </a:lnTo>
                    <a:lnTo>
                      <a:pt x="20" y="24"/>
                    </a:lnTo>
                    <a:lnTo>
                      <a:pt x="20" y="0"/>
                    </a:lnTo>
                    <a:lnTo>
                      <a:pt x="64" y="0"/>
                    </a:lnTo>
                    <a:lnTo>
                      <a:pt x="75" y="10"/>
                    </a:lnTo>
                    <a:lnTo>
                      <a:pt x="97" y="0"/>
                    </a:lnTo>
                    <a:lnTo>
                      <a:pt x="116" y="50"/>
                    </a:lnTo>
                    <a:lnTo>
                      <a:pt x="116" y="75"/>
                    </a:lnTo>
                    <a:lnTo>
                      <a:pt x="132" y="101"/>
                    </a:lnTo>
                    <a:lnTo>
                      <a:pt x="116" y="101"/>
                    </a:lnTo>
                    <a:lnTo>
                      <a:pt x="116" y="115"/>
                    </a:lnTo>
                    <a:lnTo>
                      <a:pt x="107" y="12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3" name="Freeform 88">
                <a:extLst>
                  <a:ext uri="{FF2B5EF4-FFF2-40B4-BE49-F238E27FC236}">
                    <a16:creationId xmlns:a16="http://schemas.microsoft.com/office/drawing/2014/main" id="{ACA1BA4A-CCA9-40B5-A707-9CCC6C008D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0913" y="3694895"/>
                <a:ext cx="191949" cy="191948"/>
              </a:xfrm>
              <a:custGeom>
                <a:avLst/>
                <a:gdLst/>
                <a:ahLst/>
                <a:cxnLst>
                  <a:cxn ang="0">
                    <a:pos x="131" y="64"/>
                  </a:cxn>
                  <a:cxn ang="0">
                    <a:pos x="141" y="76"/>
                  </a:cxn>
                  <a:cxn ang="0">
                    <a:pos x="131" y="90"/>
                  </a:cxn>
                  <a:cxn ang="0">
                    <a:pos x="119" y="90"/>
                  </a:cxn>
                  <a:cxn ang="0">
                    <a:pos x="109" y="101"/>
                  </a:cxn>
                  <a:cxn ang="0">
                    <a:pos x="86" y="101"/>
                  </a:cxn>
                  <a:cxn ang="0">
                    <a:pos x="42" y="101"/>
                  </a:cxn>
                  <a:cxn ang="0">
                    <a:pos x="42" y="141"/>
                  </a:cxn>
                  <a:cxn ang="0">
                    <a:pos x="33" y="130"/>
                  </a:cxn>
                  <a:cxn ang="0">
                    <a:pos x="9" y="130"/>
                  </a:cxn>
                  <a:cxn ang="0">
                    <a:pos x="0" y="116"/>
                  </a:cxn>
                  <a:cxn ang="0">
                    <a:pos x="0" y="90"/>
                  </a:cxn>
                  <a:cxn ang="0">
                    <a:pos x="18" y="50"/>
                  </a:cxn>
                  <a:cxn ang="0">
                    <a:pos x="42" y="40"/>
                  </a:cxn>
                  <a:cxn ang="0">
                    <a:pos x="76" y="11"/>
                  </a:cxn>
                  <a:cxn ang="0">
                    <a:pos x="97" y="0"/>
                  </a:cxn>
                  <a:cxn ang="0">
                    <a:pos x="97" y="25"/>
                  </a:cxn>
                  <a:cxn ang="0">
                    <a:pos x="119" y="64"/>
                  </a:cxn>
                  <a:cxn ang="0">
                    <a:pos x="131" y="64"/>
                  </a:cxn>
                </a:cxnLst>
                <a:rect l="0" t="0" r="r" b="b"/>
                <a:pathLst>
                  <a:path w="141" h="141">
                    <a:moveTo>
                      <a:pt x="131" y="64"/>
                    </a:moveTo>
                    <a:lnTo>
                      <a:pt x="141" y="76"/>
                    </a:lnTo>
                    <a:lnTo>
                      <a:pt x="131" y="90"/>
                    </a:lnTo>
                    <a:lnTo>
                      <a:pt x="119" y="90"/>
                    </a:lnTo>
                    <a:lnTo>
                      <a:pt x="109" y="101"/>
                    </a:lnTo>
                    <a:lnTo>
                      <a:pt x="86" y="101"/>
                    </a:lnTo>
                    <a:lnTo>
                      <a:pt x="42" y="101"/>
                    </a:lnTo>
                    <a:lnTo>
                      <a:pt x="42" y="141"/>
                    </a:lnTo>
                    <a:lnTo>
                      <a:pt x="33" y="130"/>
                    </a:lnTo>
                    <a:lnTo>
                      <a:pt x="9" y="130"/>
                    </a:lnTo>
                    <a:lnTo>
                      <a:pt x="0" y="116"/>
                    </a:lnTo>
                    <a:lnTo>
                      <a:pt x="0" y="90"/>
                    </a:lnTo>
                    <a:lnTo>
                      <a:pt x="18" y="50"/>
                    </a:lnTo>
                    <a:lnTo>
                      <a:pt x="42" y="40"/>
                    </a:lnTo>
                    <a:lnTo>
                      <a:pt x="76" y="11"/>
                    </a:lnTo>
                    <a:lnTo>
                      <a:pt x="97" y="0"/>
                    </a:lnTo>
                    <a:lnTo>
                      <a:pt x="97" y="25"/>
                    </a:lnTo>
                    <a:lnTo>
                      <a:pt x="119" y="64"/>
                    </a:lnTo>
                    <a:lnTo>
                      <a:pt x="131" y="6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4" name="Freeform 90">
                <a:extLst>
                  <a:ext uri="{FF2B5EF4-FFF2-40B4-BE49-F238E27FC236}">
                    <a16:creationId xmlns:a16="http://schemas.microsoft.com/office/drawing/2014/main" id="{6D448F15-9F26-45F7-9A32-90E8B2660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4830" y="3360006"/>
                <a:ext cx="402956" cy="492802"/>
              </a:xfrm>
              <a:custGeom>
                <a:avLst/>
                <a:gdLst/>
                <a:ahLst/>
                <a:cxnLst>
                  <a:cxn ang="0">
                    <a:pos x="219" y="245"/>
                  </a:cxn>
                  <a:cxn ang="0">
                    <a:pos x="198" y="256"/>
                  </a:cxn>
                  <a:cxn ang="0">
                    <a:pos x="164" y="285"/>
                  </a:cxn>
                  <a:cxn ang="0">
                    <a:pos x="140" y="296"/>
                  </a:cxn>
                  <a:cxn ang="0">
                    <a:pos x="122" y="336"/>
                  </a:cxn>
                  <a:cxn ang="0">
                    <a:pos x="122" y="362"/>
                  </a:cxn>
                  <a:cxn ang="0">
                    <a:pos x="109" y="362"/>
                  </a:cxn>
                  <a:cxn ang="0">
                    <a:pos x="100" y="362"/>
                  </a:cxn>
                  <a:cxn ang="0">
                    <a:pos x="87" y="362"/>
                  </a:cxn>
                  <a:cxn ang="0">
                    <a:pos x="79" y="362"/>
                  </a:cxn>
                  <a:cxn ang="0">
                    <a:pos x="64" y="362"/>
                  </a:cxn>
                  <a:cxn ang="0">
                    <a:pos x="45" y="310"/>
                  </a:cxn>
                  <a:cxn ang="0">
                    <a:pos x="23" y="321"/>
                  </a:cxn>
                  <a:cxn ang="0">
                    <a:pos x="12" y="310"/>
                  </a:cxn>
                  <a:cxn ang="0">
                    <a:pos x="0" y="256"/>
                  </a:cxn>
                  <a:cxn ang="0">
                    <a:pos x="12" y="231"/>
                  </a:cxn>
                  <a:cxn ang="0">
                    <a:pos x="23" y="245"/>
                  </a:cxn>
                  <a:cxn ang="0">
                    <a:pos x="33" y="231"/>
                  </a:cxn>
                  <a:cxn ang="0">
                    <a:pos x="122" y="231"/>
                  </a:cxn>
                  <a:cxn ang="0">
                    <a:pos x="100" y="0"/>
                  </a:cxn>
                  <a:cxn ang="0">
                    <a:pos x="131" y="0"/>
                  </a:cxn>
                  <a:cxn ang="0">
                    <a:pos x="231" y="101"/>
                  </a:cxn>
                  <a:cxn ang="0">
                    <a:pos x="253" y="118"/>
                  </a:cxn>
                  <a:cxn ang="0">
                    <a:pos x="275" y="129"/>
                  </a:cxn>
                  <a:cxn ang="0">
                    <a:pos x="275" y="154"/>
                  </a:cxn>
                  <a:cxn ang="0">
                    <a:pos x="296" y="154"/>
                  </a:cxn>
                  <a:cxn ang="0">
                    <a:pos x="296" y="220"/>
                  </a:cxn>
                  <a:cxn ang="0">
                    <a:pos x="286" y="231"/>
                  </a:cxn>
                  <a:cxn ang="0">
                    <a:pos x="219" y="245"/>
                  </a:cxn>
                </a:cxnLst>
                <a:rect l="0" t="0" r="r" b="b"/>
                <a:pathLst>
                  <a:path w="296" h="362">
                    <a:moveTo>
                      <a:pt x="219" y="245"/>
                    </a:moveTo>
                    <a:lnTo>
                      <a:pt x="198" y="256"/>
                    </a:lnTo>
                    <a:lnTo>
                      <a:pt x="164" y="285"/>
                    </a:lnTo>
                    <a:lnTo>
                      <a:pt x="140" y="296"/>
                    </a:lnTo>
                    <a:lnTo>
                      <a:pt x="122" y="336"/>
                    </a:lnTo>
                    <a:lnTo>
                      <a:pt x="122" y="362"/>
                    </a:lnTo>
                    <a:lnTo>
                      <a:pt x="109" y="362"/>
                    </a:lnTo>
                    <a:lnTo>
                      <a:pt x="100" y="362"/>
                    </a:lnTo>
                    <a:lnTo>
                      <a:pt x="87" y="362"/>
                    </a:lnTo>
                    <a:lnTo>
                      <a:pt x="79" y="362"/>
                    </a:lnTo>
                    <a:lnTo>
                      <a:pt x="64" y="362"/>
                    </a:lnTo>
                    <a:lnTo>
                      <a:pt x="45" y="310"/>
                    </a:lnTo>
                    <a:lnTo>
                      <a:pt x="23" y="321"/>
                    </a:lnTo>
                    <a:lnTo>
                      <a:pt x="12" y="310"/>
                    </a:lnTo>
                    <a:lnTo>
                      <a:pt x="0" y="256"/>
                    </a:lnTo>
                    <a:lnTo>
                      <a:pt x="12" y="231"/>
                    </a:lnTo>
                    <a:lnTo>
                      <a:pt x="23" y="245"/>
                    </a:lnTo>
                    <a:lnTo>
                      <a:pt x="33" y="231"/>
                    </a:lnTo>
                    <a:lnTo>
                      <a:pt x="122" y="231"/>
                    </a:lnTo>
                    <a:lnTo>
                      <a:pt x="100" y="0"/>
                    </a:lnTo>
                    <a:lnTo>
                      <a:pt x="131" y="0"/>
                    </a:lnTo>
                    <a:lnTo>
                      <a:pt x="231" y="101"/>
                    </a:lnTo>
                    <a:lnTo>
                      <a:pt x="253" y="118"/>
                    </a:lnTo>
                    <a:lnTo>
                      <a:pt x="275" y="129"/>
                    </a:lnTo>
                    <a:lnTo>
                      <a:pt x="275" y="154"/>
                    </a:lnTo>
                    <a:lnTo>
                      <a:pt x="296" y="154"/>
                    </a:lnTo>
                    <a:lnTo>
                      <a:pt x="296" y="220"/>
                    </a:lnTo>
                    <a:lnTo>
                      <a:pt x="286" y="231"/>
                    </a:lnTo>
                    <a:lnTo>
                      <a:pt x="219" y="24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5" name="Freeform 92">
                <a:extLst>
                  <a:ext uri="{FF2B5EF4-FFF2-40B4-BE49-F238E27FC236}">
                    <a16:creationId xmlns:a16="http://schemas.microsoft.com/office/drawing/2014/main" id="{9F0F1CD9-2072-4ED5-9C01-76ED15CB2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413" y="3433518"/>
                <a:ext cx="408401" cy="652078"/>
              </a:xfrm>
              <a:custGeom>
                <a:avLst/>
                <a:gdLst/>
                <a:ahLst/>
                <a:cxnLst>
                  <a:cxn ang="0">
                    <a:pos x="253" y="435"/>
                  </a:cxn>
                  <a:cxn ang="0">
                    <a:pos x="253" y="450"/>
                  </a:cxn>
                  <a:cxn ang="0">
                    <a:pos x="232" y="450"/>
                  </a:cxn>
                  <a:cxn ang="0">
                    <a:pos x="223" y="460"/>
                  </a:cxn>
                  <a:cxn ang="0">
                    <a:pos x="186" y="479"/>
                  </a:cxn>
                  <a:cxn ang="0">
                    <a:pos x="165" y="479"/>
                  </a:cxn>
                  <a:cxn ang="0">
                    <a:pos x="146" y="450"/>
                  </a:cxn>
                  <a:cxn ang="0">
                    <a:pos x="122" y="450"/>
                  </a:cxn>
                  <a:cxn ang="0">
                    <a:pos x="110" y="435"/>
                  </a:cxn>
                  <a:cxn ang="0">
                    <a:pos x="54" y="359"/>
                  </a:cxn>
                  <a:cxn ang="0">
                    <a:pos x="34" y="347"/>
                  </a:cxn>
                  <a:cxn ang="0">
                    <a:pos x="34" y="323"/>
                  </a:cxn>
                  <a:cxn ang="0">
                    <a:pos x="12" y="294"/>
                  </a:cxn>
                  <a:cxn ang="0">
                    <a:pos x="24" y="282"/>
                  </a:cxn>
                  <a:cxn ang="0">
                    <a:pos x="0" y="242"/>
                  </a:cxn>
                  <a:cxn ang="0">
                    <a:pos x="24" y="177"/>
                  </a:cxn>
                  <a:cxn ang="0">
                    <a:pos x="34" y="177"/>
                  </a:cxn>
                  <a:cxn ang="0">
                    <a:pos x="34" y="167"/>
                  </a:cxn>
                  <a:cxn ang="0">
                    <a:pos x="34" y="86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21"/>
                  </a:cxn>
                  <a:cxn ang="0">
                    <a:pos x="198" y="21"/>
                  </a:cxn>
                  <a:cxn ang="0">
                    <a:pos x="223" y="21"/>
                  </a:cxn>
                  <a:cxn ang="0">
                    <a:pos x="242" y="0"/>
                  </a:cxn>
                  <a:cxn ang="0">
                    <a:pos x="242" y="11"/>
                  </a:cxn>
                  <a:cxn ang="0">
                    <a:pos x="262" y="21"/>
                  </a:cxn>
                  <a:cxn ang="0">
                    <a:pos x="287" y="112"/>
                  </a:cxn>
                  <a:cxn ang="0">
                    <a:pos x="300" y="126"/>
                  </a:cxn>
                  <a:cxn ang="0">
                    <a:pos x="300" y="141"/>
                  </a:cxn>
                  <a:cxn ang="0">
                    <a:pos x="275" y="152"/>
                  </a:cxn>
                  <a:cxn ang="0">
                    <a:pos x="262" y="242"/>
                  </a:cxn>
                  <a:cxn ang="0">
                    <a:pos x="232" y="308"/>
                  </a:cxn>
                  <a:cxn ang="0">
                    <a:pos x="223" y="359"/>
                  </a:cxn>
                  <a:cxn ang="0">
                    <a:pos x="207" y="359"/>
                  </a:cxn>
                  <a:cxn ang="0">
                    <a:pos x="207" y="373"/>
                  </a:cxn>
                  <a:cxn ang="0">
                    <a:pos x="223" y="385"/>
                  </a:cxn>
                  <a:cxn ang="0">
                    <a:pos x="242" y="424"/>
                  </a:cxn>
                  <a:cxn ang="0">
                    <a:pos x="253" y="435"/>
                  </a:cxn>
                </a:cxnLst>
                <a:rect l="0" t="0" r="r" b="b"/>
                <a:pathLst>
                  <a:path w="300" h="479">
                    <a:moveTo>
                      <a:pt x="253" y="435"/>
                    </a:moveTo>
                    <a:lnTo>
                      <a:pt x="253" y="450"/>
                    </a:lnTo>
                    <a:lnTo>
                      <a:pt x="232" y="450"/>
                    </a:lnTo>
                    <a:lnTo>
                      <a:pt x="223" y="460"/>
                    </a:lnTo>
                    <a:lnTo>
                      <a:pt x="186" y="479"/>
                    </a:lnTo>
                    <a:lnTo>
                      <a:pt x="165" y="479"/>
                    </a:lnTo>
                    <a:lnTo>
                      <a:pt x="146" y="450"/>
                    </a:lnTo>
                    <a:lnTo>
                      <a:pt x="122" y="450"/>
                    </a:lnTo>
                    <a:lnTo>
                      <a:pt x="110" y="435"/>
                    </a:lnTo>
                    <a:lnTo>
                      <a:pt x="54" y="359"/>
                    </a:lnTo>
                    <a:lnTo>
                      <a:pt x="34" y="347"/>
                    </a:lnTo>
                    <a:lnTo>
                      <a:pt x="34" y="323"/>
                    </a:lnTo>
                    <a:lnTo>
                      <a:pt x="12" y="294"/>
                    </a:lnTo>
                    <a:lnTo>
                      <a:pt x="24" y="282"/>
                    </a:lnTo>
                    <a:lnTo>
                      <a:pt x="0" y="242"/>
                    </a:lnTo>
                    <a:lnTo>
                      <a:pt x="24" y="177"/>
                    </a:lnTo>
                    <a:lnTo>
                      <a:pt x="34" y="177"/>
                    </a:lnTo>
                    <a:lnTo>
                      <a:pt x="34" y="167"/>
                    </a:lnTo>
                    <a:lnTo>
                      <a:pt x="34" y="86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21"/>
                    </a:lnTo>
                    <a:lnTo>
                      <a:pt x="198" y="21"/>
                    </a:lnTo>
                    <a:lnTo>
                      <a:pt x="223" y="21"/>
                    </a:lnTo>
                    <a:lnTo>
                      <a:pt x="242" y="0"/>
                    </a:lnTo>
                    <a:lnTo>
                      <a:pt x="242" y="11"/>
                    </a:lnTo>
                    <a:lnTo>
                      <a:pt x="262" y="21"/>
                    </a:lnTo>
                    <a:lnTo>
                      <a:pt x="287" y="112"/>
                    </a:lnTo>
                    <a:lnTo>
                      <a:pt x="300" y="126"/>
                    </a:lnTo>
                    <a:lnTo>
                      <a:pt x="300" y="141"/>
                    </a:lnTo>
                    <a:lnTo>
                      <a:pt x="275" y="152"/>
                    </a:lnTo>
                    <a:lnTo>
                      <a:pt x="262" y="242"/>
                    </a:lnTo>
                    <a:lnTo>
                      <a:pt x="232" y="308"/>
                    </a:lnTo>
                    <a:lnTo>
                      <a:pt x="223" y="359"/>
                    </a:lnTo>
                    <a:lnTo>
                      <a:pt x="207" y="359"/>
                    </a:lnTo>
                    <a:lnTo>
                      <a:pt x="207" y="373"/>
                    </a:lnTo>
                    <a:lnTo>
                      <a:pt x="223" y="385"/>
                    </a:lnTo>
                    <a:lnTo>
                      <a:pt x="242" y="424"/>
                    </a:lnTo>
                    <a:lnTo>
                      <a:pt x="253" y="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6" name="Freeform 94">
                <a:extLst>
                  <a:ext uri="{FF2B5EF4-FFF2-40B4-BE49-F238E27FC236}">
                    <a16:creationId xmlns:a16="http://schemas.microsoft.com/office/drawing/2014/main" id="{435C7797-349D-4F79-953B-862C003D2C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306" y="3097269"/>
                <a:ext cx="386620" cy="453325"/>
              </a:xfrm>
              <a:custGeom>
                <a:avLst/>
                <a:gdLst/>
                <a:ahLst/>
                <a:cxnLst>
                  <a:cxn ang="0">
                    <a:pos x="284" y="268"/>
                  </a:cxn>
                  <a:cxn ang="0">
                    <a:pos x="284" y="322"/>
                  </a:cxn>
                  <a:cxn ang="0">
                    <a:pos x="263" y="322"/>
                  </a:cxn>
                  <a:cxn ang="0">
                    <a:pos x="263" y="333"/>
                  </a:cxn>
                  <a:cxn ang="0">
                    <a:pos x="131" y="246"/>
                  </a:cxn>
                  <a:cxn ang="0">
                    <a:pos x="97" y="246"/>
                  </a:cxn>
                  <a:cxn ang="0">
                    <a:pos x="86" y="231"/>
                  </a:cxn>
                  <a:cxn ang="0">
                    <a:pos x="45" y="231"/>
                  </a:cxn>
                  <a:cxn ang="0">
                    <a:pos x="33" y="203"/>
                  </a:cxn>
                  <a:cxn ang="0">
                    <a:pos x="21" y="203"/>
                  </a:cxn>
                  <a:cxn ang="0">
                    <a:pos x="0" y="167"/>
                  </a:cxn>
                  <a:cxn ang="0">
                    <a:pos x="9" y="155"/>
                  </a:cxn>
                  <a:cxn ang="0">
                    <a:pos x="9" y="126"/>
                  </a:cxn>
                  <a:cxn ang="0">
                    <a:pos x="9" y="90"/>
                  </a:cxn>
                  <a:cxn ang="0">
                    <a:pos x="0" y="76"/>
                  </a:cxn>
                  <a:cxn ang="0">
                    <a:pos x="0" y="65"/>
                  </a:cxn>
                  <a:cxn ang="0">
                    <a:pos x="9" y="65"/>
                  </a:cxn>
                  <a:cxn ang="0">
                    <a:pos x="9" y="37"/>
                  </a:cxn>
                  <a:cxn ang="0">
                    <a:pos x="33" y="25"/>
                  </a:cxn>
                  <a:cxn ang="0">
                    <a:pos x="33" y="0"/>
                  </a:cxn>
                  <a:cxn ang="0">
                    <a:pos x="54" y="11"/>
                  </a:cxn>
                  <a:cxn ang="0">
                    <a:pos x="86" y="11"/>
                  </a:cxn>
                  <a:cxn ang="0">
                    <a:pos x="109" y="25"/>
                  </a:cxn>
                  <a:cxn ang="0">
                    <a:pos x="109" y="37"/>
                  </a:cxn>
                  <a:cxn ang="0">
                    <a:pos x="140" y="54"/>
                  </a:cxn>
                  <a:cxn ang="0">
                    <a:pos x="161" y="65"/>
                  </a:cxn>
                  <a:cxn ang="0">
                    <a:pos x="177" y="76"/>
                  </a:cxn>
                  <a:cxn ang="0">
                    <a:pos x="186" y="65"/>
                  </a:cxn>
                  <a:cxn ang="0">
                    <a:pos x="186" y="25"/>
                  </a:cxn>
                  <a:cxn ang="0">
                    <a:pos x="219" y="11"/>
                  </a:cxn>
                  <a:cxn ang="0">
                    <a:pos x="241" y="11"/>
                  </a:cxn>
                  <a:cxn ang="0">
                    <a:pos x="241" y="25"/>
                  </a:cxn>
                  <a:cxn ang="0">
                    <a:pos x="275" y="37"/>
                  </a:cxn>
                  <a:cxn ang="0">
                    <a:pos x="275" y="76"/>
                  </a:cxn>
                  <a:cxn ang="0">
                    <a:pos x="275" y="112"/>
                  </a:cxn>
                  <a:cxn ang="0">
                    <a:pos x="284" y="268"/>
                  </a:cxn>
                </a:cxnLst>
                <a:rect l="0" t="0" r="r" b="b"/>
                <a:pathLst>
                  <a:path w="284" h="333">
                    <a:moveTo>
                      <a:pt x="284" y="268"/>
                    </a:moveTo>
                    <a:lnTo>
                      <a:pt x="284" y="322"/>
                    </a:lnTo>
                    <a:lnTo>
                      <a:pt x="263" y="322"/>
                    </a:lnTo>
                    <a:lnTo>
                      <a:pt x="263" y="333"/>
                    </a:lnTo>
                    <a:lnTo>
                      <a:pt x="131" y="246"/>
                    </a:lnTo>
                    <a:lnTo>
                      <a:pt x="97" y="246"/>
                    </a:lnTo>
                    <a:lnTo>
                      <a:pt x="86" y="231"/>
                    </a:lnTo>
                    <a:lnTo>
                      <a:pt x="45" y="231"/>
                    </a:lnTo>
                    <a:lnTo>
                      <a:pt x="33" y="203"/>
                    </a:lnTo>
                    <a:lnTo>
                      <a:pt x="21" y="203"/>
                    </a:lnTo>
                    <a:lnTo>
                      <a:pt x="0" y="167"/>
                    </a:lnTo>
                    <a:lnTo>
                      <a:pt x="9" y="155"/>
                    </a:lnTo>
                    <a:lnTo>
                      <a:pt x="9" y="126"/>
                    </a:lnTo>
                    <a:lnTo>
                      <a:pt x="9" y="90"/>
                    </a:lnTo>
                    <a:lnTo>
                      <a:pt x="0" y="76"/>
                    </a:lnTo>
                    <a:lnTo>
                      <a:pt x="0" y="65"/>
                    </a:lnTo>
                    <a:lnTo>
                      <a:pt x="9" y="65"/>
                    </a:lnTo>
                    <a:lnTo>
                      <a:pt x="9" y="37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54" y="11"/>
                    </a:lnTo>
                    <a:lnTo>
                      <a:pt x="86" y="11"/>
                    </a:lnTo>
                    <a:lnTo>
                      <a:pt x="109" y="25"/>
                    </a:lnTo>
                    <a:lnTo>
                      <a:pt x="109" y="37"/>
                    </a:lnTo>
                    <a:lnTo>
                      <a:pt x="140" y="54"/>
                    </a:lnTo>
                    <a:lnTo>
                      <a:pt x="161" y="65"/>
                    </a:lnTo>
                    <a:lnTo>
                      <a:pt x="177" y="76"/>
                    </a:lnTo>
                    <a:lnTo>
                      <a:pt x="186" y="65"/>
                    </a:lnTo>
                    <a:lnTo>
                      <a:pt x="186" y="25"/>
                    </a:lnTo>
                    <a:lnTo>
                      <a:pt x="219" y="11"/>
                    </a:lnTo>
                    <a:lnTo>
                      <a:pt x="241" y="11"/>
                    </a:lnTo>
                    <a:lnTo>
                      <a:pt x="241" y="25"/>
                    </a:lnTo>
                    <a:lnTo>
                      <a:pt x="275" y="37"/>
                    </a:lnTo>
                    <a:lnTo>
                      <a:pt x="275" y="76"/>
                    </a:lnTo>
                    <a:lnTo>
                      <a:pt x="275" y="112"/>
                    </a:lnTo>
                    <a:lnTo>
                      <a:pt x="284" y="26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7" name="Freeform 96">
                <a:extLst>
                  <a:ext uri="{FF2B5EF4-FFF2-40B4-BE49-F238E27FC236}">
                    <a16:creationId xmlns:a16="http://schemas.microsoft.com/office/drawing/2014/main" id="{CD2274C2-988A-47EC-951B-8B288633B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3316" y="2976111"/>
                <a:ext cx="499611" cy="596263"/>
              </a:xfrm>
              <a:custGeom>
                <a:avLst/>
                <a:gdLst/>
                <a:ahLst/>
                <a:cxnLst>
                  <a:cxn ang="0">
                    <a:pos x="299" y="0"/>
                  </a:cxn>
                  <a:cxn ang="0">
                    <a:pos x="308" y="0"/>
                  </a:cxn>
                  <a:cxn ang="0">
                    <a:pos x="308" y="10"/>
                  </a:cxn>
                  <a:cxn ang="0">
                    <a:pos x="308" y="53"/>
                  </a:cxn>
                  <a:cxn ang="0">
                    <a:pos x="290" y="76"/>
                  </a:cxn>
                  <a:cxn ang="0">
                    <a:pos x="299" y="101"/>
                  </a:cxn>
                  <a:cxn ang="0">
                    <a:pos x="321" y="115"/>
                  </a:cxn>
                  <a:cxn ang="0">
                    <a:pos x="321" y="155"/>
                  </a:cxn>
                  <a:cxn ang="0">
                    <a:pos x="321" y="165"/>
                  </a:cxn>
                  <a:cxn ang="0">
                    <a:pos x="330" y="180"/>
                  </a:cxn>
                  <a:cxn ang="0">
                    <a:pos x="330" y="216"/>
                  </a:cxn>
                  <a:cxn ang="0">
                    <a:pos x="330" y="246"/>
                  </a:cxn>
                  <a:cxn ang="0">
                    <a:pos x="321" y="256"/>
                  </a:cxn>
                  <a:cxn ang="0">
                    <a:pos x="343" y="292"/>
                  </a:cxn>
                  <a:cxn ang="0">
                    <a:pos x="354" y="292"/>
                  </a:cxn>
                  <a:cxn ang="0">
                    <a:pos x="367" y="321"/>
                  </a:cxn>
                  <a:cxn ang="0">
                    <a:pos x="253" y="422"/>
                  </a:cxn>
                  <a:cxn ang="0">
                    <a:pos x="232" y="438"/>
                  </a:cxn>
                  <a:cxn ang="0">
                    <a:pos x="211" y="438"/>
                  </a:cxn>
                  <a:cxn ang="0">
                    <a:pos x="211" y="412"/>
                  </a:cxn>
                  <a:cxn ang="0">
                    <a:pos x="189" y="400"/>
                  </a:cxn>
                  <a:cxn ang="0">
                    <a:pos x="167" y="383"/>
                  </a:cxn>
                  <a:cxn ang="0">
                    <a:pos x="67" y="282"/>
                  </a:cxn>
                  <a:cxn ang="0">
                    <a:pos x="0" y="230"/>
                  </a:cxn>
                  <a:cxn ang="0">
                    <a:pos x="0" y="216"/>
                  </a:cxn>
                  <a:cxn ang="0">
                    <a:pos x="0" y="191"/>
                  </a:cxn>
                  <a:cxn ang="0">
                    <a:pos x="15" y="180"/>
                  </a:cxn>
                  <a:cxn ang="0">
                    <a:pos x="67" y="165"/>
                  </a:cxn>
                  <a:cxn ang="0">
                    <a:pos x="91" y="144"/>
                  </a:cxn>
                  <a:cxn ang="0">
                    <a:pos x="91" y="126"/>
                  </a:cxn>
                  <a:cxn ang="0">
                    <a:pos x="134" y="115"/>
                  </a:cxn>
                  <a:cxn ang="0">
                    <a:pos x="134" y="53"/>
                  </a:cxn>
                  <a:cxn ang="0">
                    <a:pos x="122" y="36"/>
                  </a:cxn>
                  <a:cxn ang="0">
                    <a:pos x="177" y="10"/>
                  </a:cxn>
                  <a:cxn ang="0">
                    <a:pos x="232" y="0"/>
                  </a:cxn>
                  <a:cxn ang="0">
                    <a:pos x="253" y="0"/>
                  </a:cxn>
                  <a:cxn ang="0">
                    <a:pos x="266" y="0"/>
                  </a:cxn>
                  <a:cxn ang="0">
                    <a:pos x="299" y="0"/>
                  </a:cxn>
                </a:cxnLst>
                <a:rect l="0" t="0" r="r" b="b"/>
                <a:pathLst>
                  <a:path w="367" h="438">
                    <a:moveTo>
                      <a:pt x="299" y="0"/>
                    </a:moveTo>
                    <a:lnTo>
                      <a:pt x="308" y="0"/>
                    </a:lnTo>
                    <a:lnTo>
                      <a:pt x="308" y="10"/>
                    </a:lnTo>
                    <a:lnTo>
                      <a:pt x="308" y="53"/>
                    </a:lnTo>
                    <a:lnTo>
                      <a:pt x="290" y="76"/>
                    </a:lnTo>
                    <a:lnTo>
                      <a:pt x="299" y="101"/>
                    </a:lnTo>
                    <a:lnTo>
                      <a:pt x="321" y="115"/>
                    </a:lnTo>
                    <a:lnTo>
                      <a:pt x="321" y="155"/>
                    </a:lnTo>
                    <a:lnTo>
                      <a:pt x="321" y="165"/>
                    </a:lnTo>
                    <a:lnTo>
                      <a:pt x="330" y="180"/>
                    </a:lnTo>
                    <a:lnTo>
                      <a:pt x="330" y="216"/>
                    </a:lnTo>
                    <a:lnTo>
                      <a:pt x="330" y="246"/>
                    </a:lnTo>
                    <a:lnTo>
                      <a:pt x="321" y="256"/>
                    </a:lnTo>
                    <a:lnTo>
                      <a:pt x="343" y="292"/>
                    </a:lnTo>
                    <a:lnTo>
                      <a:pt x="354" y="292"/>
                    </a:lnTo>
                    <a:lnTo>
                      <a:pt x="367" y="321"/>
                    </a:lnTo>
                    <a:lnTo>
                      <a:pt x="253" y="422"/>
                    </a:lnTo>
                    <a:lnTo>
                      <a:pt x="232" y="438"/>
                    </a:lnTo>
                    <a:lnTo>
                      <a:pt x="211" y="438"/>
                    </a:lnTo>
                    <a:lnTo>
                      <a:pt x="211" y="412"/>
                    </a:lnTo>
                    <a:lnTo>
                      <a:pt x="189" y="400"/>
                    </a:lnTo>
                    <a:lnTo>
                      <a:pt x="167" y="383"/>
                    </a:lnTo>
                    <a:lnTo>
                      <a:pt x="67" y="282"/>
                    </a:lnTo>
                    <a:lnTo>
                      <a:pt x="0" y="230"/>
                    </a:lnTo>
                    <a:lnTo>
                      <a:pt x="0" y="216"/>
                    </a:lnTo>
                    <a:lnTo>
                      <a:pt x="0" y="191"/>
                    </a:lnTo>
                    <a:lnTo>
                      <a:pt x="15" y="180"/>
                    </a:lnTo>
                    <a:lnTo>
                      <a:pt x="67" y="165"/>
                    </a:lnTo>
                    <a:lnTo>
                      <a:pt x="91" y="144"/>
                    </a:lnTo>
                    <a:lnTo>
                      <a:pt x="91" y="126"/>
                    </a:lnTo>
                    <a:lnTo>
                      <a:pt x="134" y="115"/>
                    </a:lnTo>
                    <a:lnTo>
                      <a:pt x="134" y="53"/>
                    </a:lnTo>
                    <a:lnTo>
                      <a:pt x="122" y="36"/>
                    </a:lnTo>
                    <a:lnTo>
                      <a:pt x="177" y="10"/>
                    </a:lnTo>
                    <a:lnTo>
                      <a:pt x="232" y="0"/>
                    </a:lnTo>
                    <a:lnTo>
                      <a:pt x="253" y="0"/>
                    </a:lnTo>
                    <a:lnTo>
                      <a:pt x="266" y="0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8" name="Freeform 98">
                <a:extLst>
                  <a:ext uri="{FF2B5EF4-FFF2-40B4-BE49-F238E27FC236}">
                    <a16:creationId xmlns:a16="http://schemas.microsoft.com/office/drawing/2014/main" id="{2DBD3024-F97E-4AD6-B67D-37CE7BA09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6637" y="3606408"/>
                <a:ext cx="254570" cy="175612"/>
              </a:xfrm>
              <a:custGeom>
                <a:avLst/>
                <a:gdLst/>
                <a:ahLst/>
                <a:cxnLst>
                  <a:cxn ang="0">
                    <a:pos x="0" y="39"/>
                  </a:cxn>
                  <a:cxn ang="0">
                    <a:pos x="17" y="129"/>
                  </a:cxn>
                  <a:cxn ang="0">
                    <a:pos x="39" y="129"/>
                  </a:cxn>
                  <a:cxn ang="0">
                    <a:pos x="55" y="114"/>
                  </a:cxn>
                  <a:cxn ang="0">
                    <a:pos x="85" y="114"/>
                  </a:cxn>
                  <a:cxn ang="0">
                    <a:pos x="130" y="75"/>
                  </a:cxn>
                  <a:cxn ang="0">
                    <a:pos x="171" y="50"/>
                  </a:cxn>
                  <a:cxn ang="0">
                    <a:pos x="171" y="39"/>
                  </a:cxn>
                  <a:cxn ang="0">
                    <a:pos x="187" y="39"/>
                  </a:cxn>
                  <a:cxn ang="0">
                    <a:pos x="187" y="25"/>
                  </a:cxn>
                  <a:cxn ang="0">
                    <a:pos x="171" y="0"/>
                  </a:cxn>
                  <a:cxn ang="0">
                    <a:pos x="119" y="14"/>
                  </a:cxn>
                  <a:cxn ang="0">
                    <a:pos x="55" y="75"/>
                  </a:cxn>
                  <a:cxn ang="0">
                    <a:pos x="17" y="25"/>
                  </a:cxn>
                  <a:cxn ang="0">
                    <a:pos x="0" y="39"/>
                  </a:cxn>
                </a:cxnLst>
                <a:rect l="0" t="0" r="r" b="b"/>
                <a:pathLst>
                  <a:path w="187" h="129">
                    <a:moveTo>
                      <a:pt x="0" y="39"/>
                    </a:moveTo>
                    <a:lnTo>
                      <a:pt x="17" y="129"/>
                    </a:lnTo>
                    <a:lnTo>
                      <a:pt x="39" y="129"/>
                    </a:lnTo>
                    <a:lnTo>
                      <a:pt x="55" y="114"/>
                    </a:lnTo>
                    <a:lnTo>
                      <a:pt x="85" y="114"/>
                    </a:lnTo>
                    <a:lnTo>
                      <a:pt x="130" y="75"/>
                    </a:lnTo>
                    <a:lnTo>
                      <a:pt x="171" y="50"/>
                    </a:lnTo>
                    <a:lnTo>
                      <a:pt x="171" y="39"/>
                    </a:lnTo>
                    <a:lnTo>
                      <a:pt x="187" y="39"/>
                    </a:lnTo>
                    <a:lnTo>
                      <a:pt x="187" y="25"/>
                    </a:lnTo>
                    <a:lnTo>
                      <a:pt x="171" y="0"/>
                    </a:lnTo>
                    <a:lnTo>
                      <a:pt x="119" y="14"/>
                    </a:lnTo>
                    <a:lnTo>
                      <a:pt x="55" y="75"/>
                    </a:lnTo>
                    <a:lnTo>
                      <a:pt x="17" y="25"/>
                    </a:lnTo>
                    <a:lnTo>
                      <a:pt x="0" y="3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9" name="Freeform 100">
                <a:extLst>
                  <a:ext uri="{FF2B5EF4-FFF2-40B4-BE49-F238E27FC236}">
                    <a16:creationId xmlns:a16="http://schemas.microsoft.com/office/drawing/2014/main" id="{0A6E44B4-4740-49A6-8666-915EDFC72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0788" y="3374981"/>
                <a:ext cx="178335" cy="265460"/>
              </a:xfrm>
              <a:custGeom>
                <a:avLst/>
                <a:gdLst/>
                <a:ahLst/>
                <a:cxnLst>
                  <a:cxn ang="0">
                    <a:pos x="36" y="195"/>
                  </a:cxn>
                  <a:cxn ang="0">
                    <a:pos x="15" y="195"/>
                  </a:cxn>
                  <a:cxn ang="0">
                    <a:pos x="0" y="169"/>
                  </a:cxn>
                  <a:cxn ang="0">
                    <a:pos x="45" y="129"/>
                  </a:cxn>
                  <a:cxn ang="0">
                    <a:pos x="67" y="79"/>
                  </a:cxn>
                  <a:cxn ang="0">
                    <a:pos x="67" y="54"/>
                  </a:cxn>
                  <a:cxn ang="0">
                    <a:pos x="54" y="43"/>
                  </a:cxn>
                  <a:cxn ang="0">
                    <a:pos x="45" y="28"/>
                  </a:cxn>
                  <a:cxn ang="0">
                    <a:pos x="54" y="28"/>
                  </a:cxn>
                  <a:cxn ang="0">
                    <a:pos x="54" y="18"/>
                  </a:cxn>
                  <a:cxn ang="0">
                    <a:pos x="67" y="0"/>
                  </a:cxn>
                  <a:cxn ang="0">
                    <a:pos x="79" y="18"/>
                  </a:cxn>
                  <a:cxn ang="0">
                    <a:pos x="112" y="28"/>
                  </a:cxn>
                  <a:cxn ang="0">
                    <a:pos x="131" y="54"/>
                  </a:cxn>
                  <a:cxn ang="0">
                    <a:pos x="121" y="79"/>
                  </a:cxn>
                  <a:cxn ang="0">
                    <a:pos x="100" y="119"/>
                  </a:cxn>
                  <a:cxn ang="0">
                    <a:pos x="100" y="143"/>
                  </a:cxn>
                  <a:cxn ang="0">
                    <a:pos x="90" y="143"/>
                  </a:cxn>
                  <a:cxn ang="0">
                    <a:pos x="79" y="169"/>
                  </a:cxn>
                  <a:cxn ang="0">
                    <a:pos x="54" y="169"/>
                  </a:cxn>
                  <a:cxn ang="0">
                    <a:pos x="45" y="195"/>
                  </a:cxn>
                  <a:cxn ang="0">
                    <a:pos x="36" y="195"/>
                  </a:cxn>
                </a:cxnLst>
                <a:rect l="0" t="0" r="r" b="b"/>
                <a:pathLst>
                  <a:path w="131" h="195">
                    <a:moveTo>
                      <a:pt x="36" y="195"/>
                    </a:moveTo>
                    <a:lnTo>
                      <a:pt x="15" y="195"/>
                    </a:lnTo>
                    <a:lnTo>
                      <a:pt x="0" y="169"/>
                    </a:lnTo>
                    <a:lnTo>
                      <a:pt x="45" y="129"/>
                    </a:lnTo>
                    <a:lnTo>
                      <a:pt x="67" y="79"/>
                    </a:lnTo>
                    <a:lnTo>
                      <a:pt x="67" y="54"/>
                    </a:lnTo>
                    <a:lnTo>
                      <a:pt x="54" y="43"/>
                    </a:lnTo>
                    <a:lnTo>
                      <a:pt x="45" y="28"/>
                    </a:lnTo>
                    <a:lnTo>
                      <a:pt x="54" y="28"/>
                    </a:lnTo>
                    <a:lnTo>
                      <a:pt x="54" y="18"/>
                    </a:lnTo>
                    <a:lnTo>
                      <a:pt x="67" y="0"/>
                    </a:lnTo>
                    <a:lnTo>
                      <a:pt x="79" y="18"/>
                    </a:lnTo>
                    <a:lnTo>
                      <a:pt x="112" y="28"/>
                    </a:lnTo>
                    <a:lnTo>
                      <a:pt x="131" y="54"/>
                    </a:lnTo>
                    <a:lnTo>
                      <a:pt x="121" y="79"/>
                    </a:lnTo>
                    <a:lnTo>
                      <a:pt x="100" y="119"/>
                    </a:lnTo>
                    <a:lnTo>
                      <a:pt x="100" y="143"/>
                    </a:lnTo>
                    <a:lnTo>
                      <a:pt x="90" y="143"/>
                    </a:lnTo>
                    <a:lnTo>
                      <a:pt x="79" y="169"/>
                    </a:lnTo>
                    <a:lnTo>
                      <a:pt x="54" y="169"/>
                    </a:lnTo>
                    <a:lnTo>
                      <a:pt x="45" y="195"/>
                    </a:lnTo>
                    <a:lnTo>
                      <a:pt x="36" y="19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0" name="Freeform 102">
                <a:extLst>
                  <a:ext uri="{FF2B5EF4-FFF2-40B4-BE49-F238E27FC236}">
                    <a16:creationId xmlns:a16="http://schemas.microsoft.com/office/drawing/2014/main" id="{C673C79C-8BA0-448D-B7BE-2BA23F621D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8353" y="3132665"/>
                <a:ext cx="533644" cy="577204"/>
              </a:xfrm>
              <a:custGeom>
                <a:avLst/>
                <a:gdLst/>
                <a:ahLst/>
                <a:cxnLst>
                  <a:cxn ang="0">
                    <a:pos x="171" y="76"/>
                  </a:cxn>
                  <a:cxn ang="0">
                    <a:pos x="153" y="65"/>
                  </a:cxn>
                  <a:cxn ang="0">
                    <a:pos x="153" y="40"/>
                  </a:cxn>
                  <a:cxn ang="0">
                    <a:pos x="141" y="40"/>
                  </a:cxn>
                  <a:cxn ang="0">
                    <a:pos x="94" y="11"/>
                  </a:cxn>
                  <a:cxn ang="0">
                    <a:pos x="76" y="0"/>
                  </a:cxn>
                  <a:cxn ang="0">
                    <a:pos x="30" y="11"/>
                  </a:cxn>
                  <a:cxn ang="0">
                    <a:pos x="51" y="40"/>
                  </a:cxn>
                  <a:cxn ang="0">
                    <a:pos x="39" y="50"/>
                  </a:cxn>
                  <a:cxn ang="0">
                    <a:pos x="30" y="50"/>
                  </a:cxn>
                  <a:cxn ang="0">
                    <a:pos x="18" y="65"/>
                  </a:cxn>
                  <a:cxn ang="0">
                    <a:pos x="0" y="65"/>
                  </a:cxn>
                  <a:cxn ang="0">
                    <a:pos x="0" y="101"/>
                  </a:cxn>
                  <a:cxn ang="0">
                    <a:pos x="9" y="101"/>
                  </a:cxn>
                  <a:cxn ang="0">
                    <a:pos x="51" y="196"/>
                  </a:cxn>
                  <a:cxn ang="0">
                    <a:pos x="76" y="206"/>
                  </a:cxn>
                  <a:cxn ang="0">
                    <a:pos x="86" y="232"/>
                  </a:cxn>
                  <a:cxn ang="0">
                    <a:pos x="86" y="268"/>
                  </a:cxn>
                  <a:cxn ang="0">
                    <a:pos x="94" y="297"/>
                  </a:cxn>
                  <a:cxn ang="0">
                    <a:pos x="116" y="307"/>
                  </a:cxn>
                  <a:cxn ang="0">
                    <a:pos x="153" y="373"/>
                  </a:cxn>
                  <a:cxn ang="0">
                    <a:pos x="153" y="387"/>
                  </a:cxn>
                  <a:cxn ang="0">
                    <a:pos x="171" y="373"/>
                  </a:cxn>
                  <a:cxn ang="0">
                    <a:pos x="208" y="424"/>
                  </a:cxn>
                  <a:cxn ang="0">
                    <a:pos x="272" y="362"/>
                  </a:cxn>
                  <a:cxn ang="0">
                    <a:pos x="324" y="347"/>
                  </a:cxn>
                  <a:cxn ang="0">
                    <a:pos x="370" y="307"/>
                  </a:cxn>
                  <a:cxn ang="0">
                    <a:pos x="392" y="256"/>
                  </a:cxn>
                  <a:cxn ang="0">
                    <a:pos x="392" y="232"/>
                  </a:cxn>
                  <a:cxn ang="0">
                    <a:pos x="379" y="220"/>
                  </a:cxn>
                  <a:cxn ang="0">
                    <a:pos x="370" y="206"/>
                  </a:cxn>
                  <a:cxn ang="0">
                    <a:pos x="360" y="206"/>
                  </a:cxn>
                  <a:cxn ang="0">
                    <a:pos x="360" y="220"/>
                  </a:cxn>
                  <a:cxn ang="0">
                    <a:pos x="348" y="220"/>
                  </a:cxn>
                  <a:cxn ang="0">
                    <a:pos x="340" y="220"/>
                  </a:cxn>
                  <a:cxn ang="0">
                    <a:pos x="324" y="220"/>
                  </a:cxn>
                  <a:cxn ang="0">
                    <a:pos x="315" y="220"/>
                  </a:cxn>
                  <a:cxn ang="0">
                    <a:pos x="302" y="220"/>
                  </a:cxn>
                  <a:cxn ang="0">
                    <a:pos x="293" y="220"/>
                  </a:cxn>
                  <a:cxn ang="0">
                    <a:pos x="293" y="206"/>
                  </a:cxn>
                  <a:cxn ang="0">
                    <a:pos x="293" y="196"/>
                  </a:cxn>
                  <a:cxn ang="0">
                    <a:pos x="284" y="167"/>
                  </a:cxn>
                  <a:cxn ang="0">
                    <a:pos x="272" y="131"/>
                  </a:cxn>
                  <a:cxn ang="0">
                    <a:pos x="238" y="86"/>
                  </a:cxn>
                  <a:cxn ang="0">
                    <a:pos x="208" y="76"/>
                  </a:cxn>
                  <a:cxn ang="0">
                    <a:pos x="183" y="76"/>
                  </a:cxn>
                  <a:cxn ang="0">
                    <a:pos x="171" y="76"/>
                  </a:cxn>
                </a:cxnLst>
                <a:rect l="0" t="0" r="r" b="b"/>
                <a:pathLst>
                  <a:path w="392" h="424">
                    <a:moveTo>
                      <a:pt x="171" y="76"/>
                    </a:moveTo>
                    <a:lnTo>
                      <a:pt x="153" y="65"/>
                    </a:lnTo>
                    <a:lnTo>
                      <a:pt x="153" y="40"/>
                    </a:lnTo>
                    <a:lnTo>
                      <a:pt x="141" y="40"/>
                    </a:lnTo>
                    <a:lnTo>
                      <a:pt x="94" y="11"/>
                    </a:lnTo>
                    <a:lnTo>
                      <a:pt x="76" y="0"/>
                    </a:lnTo>
                    <a:lnTo>
                      <a:pt x="30" y="11"/>
                    </a:lnTo>
                    <a:lnTo>
                      <a:pt x="51" y="40"/>
                    </a:lnTo>
                    <a:lnTo>
                      <a:pt x="39" y="50"/>
                    </a:lnTo>
                    <a:lnTo>
                      <a:pt x="30" y="50"/>
                    </a:lnTo>
                    <a:lnTo>
                      <a:pt x="18" y="65"/>
                    </a:lnTo>
                    <a:lnTo>
                      <a:pt x="0" y="65"/>
                    </a:lnTo>
                    <a:lnTo>
                      <a:pt x="0" y="101"/>
                    </a:lnTo>
                    <a:lnTo>
                      <a:pt x="9" y="101"/>
                    </a:lnTo>
                    <a:lnTo>
                      <a:pt x="51" y="196"/>
                    </a:lnTo>
                    <a:lnTo>
                      <a:pt x="76" y="206"/>
                    </a:lnTo>
                    <a:lnTo>
                      <a:pt x="86" y="232"/>
                    </a:lnTo>
                    <a:lnTo>
                      <a:pt x="86" y="268"/>
                    </a:lnTo>
                    <a:lnTo>
                      <a:pt x="94" y="297"/>
                    </a:lnTo>
                    <a:lnTo>
                      <a:pt x="116" y="307"/>
                    </a:lnTo>
                    <a:lnTo>
                      <a:pt x="153" y="373"/>
                    </a:lnTo>
                    <a:lnTo>
                      <a:pt x="153" y="387"/>
                    </a:lnTo>
                    <a:lnTo>
                      <a:pt x="171" y="373"/>
                    </a:lnTo>
                    <a:lnTo>
                      <a:pt x="208" y="424"/>
                    </a:lnTo>
                    <a:lnTo>
                      <a:pt x="272" y="362"/>
                    </a:lnTo>
                    <a:lnTo>
                      <a:pt x="324" y="347"/>
                    </a:lnTo>
                    <a:lnTo>
                      <a:pt x="370" y="307"/>
                    </a:lnTo>
                    <a:lnTo>
                      <a:pt x="392" y="256"/>
                    </a:lnTo>
                    <a:lnTo>
                      <a:pt x="392" y="232"/>
                    </a:lnTo>
                    <a:lnTo>
                      <a:pt x="379" y="220"/>
                    </a:lnTo>
                    <a:lnTo>
                      <a:pt x="370" y="206"/>
                    </a:lnTo>
                    <a:lnTo>
                      <a:pt x="360" y="206"/>
                    </a:lnTo>
                    <a:lnTo>
                      <a:pt x="360" y="220"/>
                    </a:lnTo>
                    <a:lnTo>
                      <a:pt x="348" y="220"/>
                    </a:lnTo>
                    <a:lnTo>
                      <a:pt x="340" y="220"/>
                    </a:lnTo>
                    <a:lnTo>
                      <a:pt x="324" y="220"/>
                    </a:lnTo>
                    <a:lnTo>
                      <a:pt x="315" y="220"/>
                    </a:lnTo>
                    <a:lnTo>
                      <a:pt x="302" y="220"/>
                    </a:lnTo>
                    <a:lnTo>
                      <a:pt x="293" y="220"/>
                    </a:lnTo>
                    <a:lnTo>
                      <a:pt x="293" y="206"/>
                    </a:lnTo>
                    <a:lnTo>
                      <a:pt x="293" y="196"/>
                    </a:lnTo>
                    <a:lnTo>
                      <a:pt x="284" y="167"/>
                    </a:lnTo>
                    <a:lnTo>
                      <a:pt x="272" y="131"/>
                    </a:lnTo>
                    <a:lnTo>
                      <a:pt x="238" y="86"/>
                    </a:lnTo>
                    <a:lnTo>
                      <a:pt x="208" y="76"/>
                    </a:lnTo>
                    <a:lnTo>
                      <a:pt x="183" y="76"/>
                    </a:lnTo>
                    <a:lnTo>
                      <a:pt x="171" y="7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1" name="Freeform 104">
                <a:extLst>
                  <a:ext uri="{FF2B5EF4-FFF2-40B4-BE49-F238E27FC236}">
                    <a16:creationId xmlns:a16="http://schemas.microsoft.com/office/drawing/2014/main" id="{E318EBC1-68B3-4626-9064-EFE115F04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4973" y="3340949"/>
                <a:ext cx="34034" cy="58538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12" y="43"/>
                  </a:cxn>
                  <a:cxn ang="0">
                    <a:pos x="25" y="24"/>
                  </a:cxn>
                  <a:cxn ang="0">
                    <a:pos x="25" y="0"/>
                  </a:cxn>
                  <a:cxn ang="0">
                    <a:pos x="12" y="0"/>
                  </a:cxn>
                  <a:cxn ang="0">
                    <a:pos x="0" y="14"/>
                  </a:cxn>
                </a:cxnLst>
                <a:rect l="0" t="0" r="r" b="b"/>
                <a:pathLst>
                  <a:path w="25" h="43">
                    <a:moveTo>
                      <a:pt x="0" y="14"/>
                    </a:moveTo>
                    <a:lnTo>
                      <a:pt x="12" y="43"/>
                    </a:lnTo>
                    <a:lnTo>
                      <a:pt x="25" y="24"/>
                    </a:lnTo>
                    <a:lnTo>
                      <a:pt x="25" y="0"/>
                    </a:lnTo>
                    <a:lnTo>
                      <a:pt x="12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2" name="Freeform 106">
                <a:extLst>
                  <a:ext uri="{FF2B5EF4-FFF2-40B4-BE49-F238E27FC236}">
                    <a16:creationId xmlns:a16="http://schemas.microsoft.com/office/drawing/2014/main" id="{7A7D27F5-9C83-4DE0-A6F7-923D059DF0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7225" y="3340949"/>
                <a:ext cx="134772" cy="92570"/>
              </a:xfrm>
              <a:custGeom>
                <a:avLst/>
                <a:gdLst/>
                <a:ahLst/>
                <a:cxnLst>
                  <a:cxn ang="0">
                    <a:pos x="99" y="14"/>
                  </a:cxn>
                  <a:cxn ang="0">
                    <a:pos x="86" y="0"/>
                  </a:cxn>
                  <a:cxn ang="0">
                    <a:pos x="55" y="43"/>
                  </a:cxn>
                  <a:cxn ang="0">
                    <a:pos x="31" y="43"/>
                  </a:cxn>
                  <a:cxn ang="0">
                    <a:pos x="21" y="53"/>
                  </a:cxn>
                  <a:cxn ang="0">
                    <a:pos x="0" y="43"/>
                  </a:cxn>
                  <a:cxn ang="0">
                    <a:pos x="0" y="53"/>
                  </a:cxn>
                  <a:cxn ang="0">
                    <a:pos x="0" y="68"/>
                  </a:cxn>
                  <a:cxn ang="0">
                    <a:pos x="9" y="68"/>
                  </a:cxn>
                  <a:cxn ang="0">
                    <a:pos x="21" y="68"/>
                  </a:cxn>
                  <a:cxn ang="0">
                    <a:pos x="31" y="68"/>
                  </a:cxn>
                  <a:cxn ang="0">
                    <a:pos x="46" y="68"/>
                  </a:cxn>
                  <a:cxn ang="0">
                    <a:pos x="55" y="68"/>
                  </a:cxn>
                  <a:cxn ang="0">
                    <a:pos x="67" y="68"/>
                  </a:cxn>
                  <a:cxn ang="0">
                    <a:pos x="67" y="53"/>
                  </a:cxn>
                  <a:cxn ang="0">
                    <a:pos x="77" y="53"/>
                  </a:cxn>
                  <a:cxn ang="0">
                    <a:pos x="86" y="53"/>
                  </a:cxn>
                  <a:cxn ang="0">
                    <a:pos x="86" y="43"/>
                  </a:cxn>
                  <a:cxn ang="0">
                    <a:pos x="99" y="24"/>
                  </a:cxn>
                  <a:cxn ang="0">
                    <a:pos x="99" y="14"/>
                  </a:cxn>
                </a:cxnLst>
                <a:rect l="0" t="0" r="r" b="b"/>
                <a:pathLst>
                  <a:path w="99" h="68">
                    <a:moveTo>
                      <a:pt x="99" y="14"/>
                    </a:moveTo>
                    <a:lnTo>
                      <a:pt x="86" y="0"/>
                    </a:lnTo>
                    <a:lnTo>
                      <a:pt x="55" y="43"/>
                    </a:lnTo>
                    <a:lnTo>
                      <a:pt x="31" y="43"/>
                    </a:lnTo>
                    <a:lnTo>
                      <a:pt x="21" y="53"/>
                    </a:lnTo>
                    <a:lnTo>
                      <a:pt x="0" y="43"/>
                    </a:lnTo>
                    <a:lnTo>
                      <a:pt x="0" y="53"/>
                    </a:lnTo>
                    <a:lnTo>
                      <a:pt x="0" y="68"/>
                    </a:lnTo>
                    <a:lnTo>
                      <a:pt x="9" y="68"/>
                    </a:lnTo>
                    <a:lnTo>
                      <a:pt x="21" y="68"/>
                    </a:lnTo>
                    <a:lnTo>
                      <a:pt x="31" y="68"/>
                    </a:lnTo>
                    <a:lnTo>
                      <a:pt x="46" y="68"/>
                    </a:lnTo>
                    <a:lnTo>
                      <a:pt x="55" y="68"/>
                    </a:lnTo>
                    <a:lnTo>
                      <a:pt x="67" y="68"/>
                    </a:lnTo>
                    <a:lnTo>
                      <a:pt x="67" y="53"/>
                    </a:lnTo>
                    <a:lnTo>
                      <a:pt x="77" y="53"/>
                    </a:lnTo>
                    <a:lnTo>
                      <a:pt x="86" y="53"/>
                    </a:lnTo>
                    <a:lnTo>
                      <a:pt x="86" y="43"/>
                    </a:lnTo>
                    <a:lnTo>
                      <a:pt x="99" y="24"/>
                    </a:lnTo>
                    <a:lnTo>
                      <a:pt x="99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3" name="Freeform 160">
                <a:extLst>
                  <a:ext uri="{FF2B5EF4-FFF2-40B4-BE49-F238E27FC236}">
                    <a16:creationId xmlns:a16="http://schemas.microsoft.com/office/drawing/2014/main" id="{AEAD1A75-33DF-4A1F-86D3-84D1D644B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6035" y="3149001"/>
                <a:ext cx="266822" cy="314467"/>
              </a:xfrm>
              <a:custGeom>
                <a:avLst/>
                <a:gdLst/>
                <a:ahLst/>
                <a:cxnLst>
                  <a:cxn ang="0">
                    <a:pos x="161" y="17"/>
                  </a:cxn>
                  <a:cxn ang="0">
                    <a:pos x="177" y="53"/>
                  </a:cxn>
                  <a:cxn ang="0">
                    <a:pos x="161" y="89"/>
                  </a:cxn>
                  <a:cxn ang="0">
                    <a:pos x="152" y="75"/>
                  </a:cxn>
                  <a:cxn ang="0">
                    <a:pos x="131" y="39"/>
                  </a:cxn>
                  <a:cxn ang="0">
                    <a:pos x="140" y="64"/>
                  </a:cxn>
                  <a:cxn ang="0">
                    <a:pos x="196" y="184"/>
                  </a:cxn>
                  <a:cxn ang="0">
                    <a:pos x="196" y="209"/>
                  </a:cxn>
                  <a:cxn ang="0">
                    <a:pos x="177" y="231"/>
                  </a:cxn>
                  <a:cxn ang="0">
                    <a:pos x="152" y="231"/>
                  </a:cxn>
                  <a:cxn ang="0">
                    <a:pos x="8" y="231"/>
                  </a:cxn>
                  <a:cxn ang="0">
                    <a:pos x="0" y="75"/>
                  </a:cxn>
                  <a:cxn ang="0">
                    <a:pos x="0" y="39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75" y="17"/>
                  </a:cxn>
                  <a:cxn ang="0">
                    <a:pos x="109" y="0"/>
                  </a:cxn>
                  <a:cxn ang="0">
                    <a:pos x="119" y="0"/>
                  </a:cxn>
                  <a:cxn ang="0">
                    <a:pos x="119" y="17"/>
                  </a:cxn>
                  <a:cxn ang="0">
                    <a:pos x="131" y="17"/>
                  </a:cxn>
                  <a:cxn ang="0">
                    <a:pos x="140" y="17"/>
                  </a:cxn>
                  <a:cxn ang="0">
                    <a:pos x="161" y="17"/>
                  </a:cxn>
                </a:cxnLst>
                <a:rect l="0" t="0" r="r" b="b"/>
                <a:pathLst>
                  <a:path w="196" h="231">
                    <a:moveTo>
                      <a:pt x="161" y="17"/>
                    </a:moveTo>
                    <a:lnTo>
                      <a:pt x="177" y="53"/>
                    </a:lnTo>
                    <a:lnTo>
                      <a:pt x="161" y="89"/>
                    </a:lnTo>
                    <a:lnTo>
                      <a:pt x="152" y="75"/>
                    </a:lnTo>
                    <a:lnTo>
                      <a:pt x="131" y="39"/>
                    </a:lnTo>
                    <a:lnTo>
                      <a:pt x="140" y="64"/>
                    </a:lnTo>
                    <a:lnTo>
                      <a:pt x="196" y="184"/>
                    </a:lnTo>
                    <a:lnTo>
                      <a:pt x="196" y="209"/>
                    </a:lnTo>
                    <a:lnTo>
                      <a:pt x="177" y="231"/>
                    </a:lnTo>
                    <a:lnTo>
                      <a:pt x="152" y="231"/>
                    </a:lnTo>
                    <a:lnTo>
                      <a:pt x="8" y="231"/>
                    </a:lnTo>
                    <a:lnTo>
                      <a:pt x="0" y="75"/>
                    </a:lnTo>
                    <a:lnTo>
                      <a:pt x="0" y="39"/>
                    </a:lnTo>
                    <a:lnTo>
                      <a:pt x="0" y="0"/>
                    </a:lnTo>
                    <a:lnTo>
                      <a:pt x="33" y="0"/>
                    </a:lnTo>
                    <a:lnTo>
                      <a:pt x="75" y="17"/>
                    </a:lnTo>
                    <a:lnTo>
                      <a:pt x="109" y="0"/>
                    </a:lnTo>
                    <a:lnTo>
                      <a:pt x="119" y="0"/>
                    </a:lnTo>
                    <a:lnTo>
                      <a:pt x="119" y="17"/>
                    </a:lnTo>
                    <a:lnTo>
                      <a:pt x="131" y="17"/>
                    </a:lnTo>
                    <a:lnTo>
                      <a:pt x="140" y="17"/>
                    </a:lnTo>
                    <a:lnTo>
                      <a:pt x="161" y="1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4" name="Freeform 162">
                <a:extLst>
                  <a:ext uri="{FF2B5EF4-FFF2-40B4-BE49-F238E27FC236}">
                    <a16:creationId xmlns:a16="http://schemas.microsoft.com/office/drawing/2014/main" id="{97AC22E7-E1F3-4170-9C89-96123B9199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5211" y="3606408"/>
                <a:ext cx="359392" cy="477829"/>
              </a:xfrm>
              <a:custGeom>
                <a:avLst/>
                <a:gdLst/>
                <a:ahLst/>
                <a:cxnLst>
                  <a:cxn ang="0">
                    <a:pos x="67" y="322"/>
                  </a:cxn>
                  <a:cxn ang="0">
                    <a:pos x="45" y="322"/>
                  </a:cxn>
                  <a:cxn ang="0">
                    <a:pos x="45" y="306"/>
                  </a:cxn>
                  <a:cxn ang="0">
                    <a:pos x="34" y="296"/>
                  </a:cxn>
                  <a:cxn ang="0">
                    <a:pos x="15" y="256"/>
                  </a:cxn>
                  <a:cxn ang="0">
                    <a:pos x="0" y="246"/>
                  </a:cxn>
                  <a:cxn ang="0">
                    <a:pos x="0" y="231"/>
                  </a:cxn>
                  <a:cxn ang="0">
                    <a:pos x="15" y="231"/>
                  </a:cxn>
                  <a:cxn ang="0">
                    <a:pos x="24" y="181"/>
                  </a:cxn>
                  <a:cxn ang="0">
                    <a:pos x="55" y="115"/>
                  </a:cxn>
                  <a:cxn ang="0">
                    <a:pos x="67" y="25"/>
                  </a:cxn>
                  <a:cxn ang="0">
                    <a:pos x="92" y="14"/>
                  </a:cxn>
                  <a:cxn ang="0">
                    <a:pos x="92" y="0"/>
                  </a:cxn>
                  <a:cxn ang="0">
                    <a:pos x="110" y="50"/>
                  </a:cxn>
                  <a:cxn ang="0">
                    <a:pos x="147" y="76"/>
                  </a:cxn>
                  <a:cxn ang="0">
                    <a:pos x="177" y="129"/>
                  </a:cxn>
                  <a:cxn ang="0">
                    <a:pos x="169" y="141"/>
                  </a:cxn>
                  <a:cxn ang="0">
                    <a:pos x="156" y="166"/>
                  </a:cxn>
                  <a:cxn ang="0">
                    <a:pos x="177" y="166"/>
                  </a:cxn>
                  <a:cxn ang="0">
                    <a:pos x="177" y="181"/>
                  </a:cxn>
                  <a:cxn ang="0">
                    <a:pos x="199" y="220"/>
                  </a:cxn>
                  <a:cxn ang="0">
                    <a:pos x="254" y="246"/>
                  </a:cxn>
                  <a:cxn ang="0">
                    <a:pos x="264" y="246"/>
                  </a:cxn>
                  <a:cxn ang="0">
                    <a:pos x="224" y="306"/>
                  </a:cxn>
                  <a:cxn ang="0">
                    <a:pos x="187" y="322"/>
                  </a:cxn>
                  <a:cxn ang="0">
                    <a:pos x="156" y="332"/>
                  </a:cxn>
                  <a:cxn ang="0">
                    <a:pos x="147" y="332"/>
                  </a:cxn>
                  <a:cxn ang="0">
                    <a:pos x="110" y="351"/>
                  </a:cxn>
                  <a:cxn ang="0">
                    <a:pos x="92" y="351"/>
                  </a:cxn>
                  <a:cxn ang="0">
                    <a:pos x="67" y="322"/>
                  </a:cxn>
                </a:cxnLst>
                <a:rect l="0" t="0" r="r" b="b"/>
                <a:pathLst>
                  <a:path w="264" h="351">
                    <a:moveTo>
                      <a:pt x="67" y="322"/>
                    </a:moveTo>
                    <a:lnTo>
                      <a:pt x="45" y="322"/>
                    </a:lnTo>
                    <a:lnTo>
                      <a:pt x="45" y="306"/>
                    </a:lnTo>
                    <a:lnTo>
                      <a:pt x="34" y="296"/>
                    </a:lnTo>
                    <a:lnTo>
                      <a:pt x="15" y="256"/>
                    </a:lnTo>
                    <a:lnTo>
                      <a:pt x="0" y="246"/>
                    </a:lnTo>
                    <a:lnTo>
                      <a:pt x="0" y="231"/>
                    </a:lnTo>
                    <a:lnTo>
                      <a:pt x="15" y="231"/>
                    </a:lnTo>
                    <a:lnTo>
                      <a:pt x="24" y="181"/>
                    </a:lnTo>
                    <a:lnTo>
                      <a:pt x="55" y="115"/>
                    </a:lnTo>
                    <a:lnTo>
                      <a:pt x="67" y="25"/>
                    </a:lnTo>
                    <a:lnTo>
                      <a:pt x="92" y="14"/>
                    </a:lnTo>
                    <a:lnTo>
                      <a:pt x="92" y="0"/>
                    </a:lnTo>
                    <a:lnTo>
                      <a:pt x="110" y="50"/>
                    </a:lnTo>
                    <a:lnTo>
                      <a:pt x="147" y="76"/>
                    </a:lnTo>
                    <a:lnTo>
                      <a:pt x="177" y="129"/>
                    </a:lnTo>
                    <a:lnTo>
                      <a:pt x="169" y="141"/>
                    </a:lnTo>
                    <a:lnTo>
                      <a:pt x="156" y="166"/>
                    </a:lnTo>
                    <a:lnTo>
                      <a:pt x="177" y="166"/>
                    </a:lnTo>
                    <a:lnTo>
                      <a:pt x="177" y="181"/>
                    </a:lnTo>
                    <a:lnTo>
                      <a:pt x="199" y="220"/>
                    </a:lnTo>
                    <a:lnTo>
                      <a:pt x="254" y="246"/>
                    </a:lnTo>
                    <a:lnTo>
                      <a:pt x="264" y="246"/>
                    </a:lnTo>
                    <a:lnTo>
                      <a:pt x="224" y="306"/>
                    </a:lnTo>
                    <a:lnTo>
                      <a:pt x="187" y="322"/>
                    </a:lnTo>
                    <a:lnTo>
                      <a:pt x="156" y="332"/>
                    </a:lnTo>
                    <a:lnTo>
                      <a:pt x="147" y="332"/>
                    </a:lnTo>
                    <a:lnTo>
                      <a:pt x="110" y="351"/>
                    </a:lnTo>
                    <a:lnTo>
                      <a:pt x="92" y="351"/>
                    </a:lnTo>
                    <a:lnTo>
                      <a:pt x="67" y="32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5" name="Freeform 164">
                <a:extLst>
                  <a:ext uri="{FF2B5EF4-FFF2-40B4-BE49-F238E27FC236}">
                    <a16:creationId xmlns:a16="http://schemas.microsoft.com/office/drawing/2014/main" id="{4A8F67A6-199F-42FB-AD18-2D6B6142A3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529" y="4061092"/>
                <a:ext cx="129327" cy="176973"/>
              </a:xfrm>
              <a:custGeom>
                <a:avLst/>
                <a:gdLst/>
                <a:ahLst/>
                <a:cxnLst>
                  <a:cxn ang="0">
                    <a:pos x="76" y="0"/>
                  </a:cxn>
                  <a:cxn ang="0">
                    <a:pos x="85" y="0"/>
                  </a:cxn>
                  <a:cxn ang="0">
                    <a:pos x="95" y="54"/>
                  </a:cxn>
                  <a:cxn ang="0">
                    <a:pos x="76" y="90"/>
                  </a:cxn>
                  <a:cxn ang="0">
                    <a:pos x="76" y="130"/>
                  </a:cxn>
                  <a:cxn ang="0">
                    <a:pos x="39" y="130"/>
                  </a:cxn>
                  <a:cxn ang="0">
                    <a:pos x="9" y="130"/>
                  </a:cxn>
                  <a:cxn ang="0">
                    <a:pos x="0" y="130"/>
                  </a:cxn>
                  <a:cxn ang="0">
                    <a:pos x="9" y="90"/>
                  </a:cxn>
                  <a:cxn ang="0">
                    <a:pos x="18" y="64"/>
                  </a:cxn>
                  <a:cxn ang="0">
                    <a:pos x="30" y="54"/>
                  </a:cxn>
                  <a:cxn ang="0">
                    <a:pos x="18" y="39"/>
                  </a:cxn>
                  <a:cxn ang="0">
                    <a:pos x="18" y="18"/>
                  </a:cxn>
                  <a:cxn ang="0">
                    <a:pos x="39" y="18"/>
                  </a:cxn>
                  <a:cxn ang="0">
                    <a:pos x="76" y="0"/>
                  </a:cxn>
                </a:cxnLst>
                <a:rect l="0" t="0" r="r" b="b"/>
                <a:pathLst>
                  <a:path w="95" h="130">
                    <a:moveTo>
                      <a:pt x="76" y="0"/>
                    </a:moveTo>
                    <a:lnTo>
                      <a:pt x="85" y="0"/>
                    </a:lnTo>
                    <a:lnTo>
                      <a:pt x="95" y="54"/>
                    </a:lnTo>
                    <a:lnTo>
                      <a:pt x="76" y="90"/>
                    </a:lnTo>
                    <a:lnTo>
                      <a:pt x="76" y="130"/>
                    </a:lnTo>
                    <a:lnTo>
                      <a:pt x="39" y="130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9" y="90"/>
                    </a:lnTo>
                    <a:lnTo>
                      <a:pt x="18" y="64"/>
                    </a:lnTo>
                    <a:lnTo>
                      <a:pt x="30" y="54"/>
                    </a:lnTo>
                    <a:lnTo>
                      <a:pt x="18" y="39"/>
                    </a:lnTo>
                    <a:lnTo>
                      <a:pt x="18" y="18"/>
                    </a:lnTo>
                    <a:lnTo>
                      <a:pt x="39" y="18"/>
                    </a:lnTo>
                    <a:lnTo>
                      <a:pt x="76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6" name="Freeform 166">
                <a:extLst>
                  <a:ext uri="{FF2B5EF4-FFF2-40B4-BE49-F238E27FC236}">
                    <a16:creationId xmlns:a16="http://schemas.microsoft.com/office/drawing/2014/main" id="{22E9D8ED-1026-4731-B787-6FFD5F0D3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8353" y="4046117"/>
                <a:ext cx="191949" cy="314467"/>
              </a:xfrm>
              <a:custGeom>
                <a:avLst/>
                <a:gdLst/>
                <a:ahLst/>
                <a:cxnLst>
                  <a:cxn ang="0">
                    <a:pos x="76" y="206"/>
                  </a:cxn>
                  <a:cxn ang="0">
                    <a:pos x="94" y="231"/>
                  </a:cxn>
                  <a:cxn ang="0">
                    <a:pos x="116" y="191"/>
                  </a:cxn>
                  <a:cxn ang="0">
                    <a:pos x="116" y="166"/>
                  </a:cxn>
                  <a:cxn ang="0">
                    <a:pos x="116" y="180"/>
                  </a:cxn>
                  <a:cxn ang="0">
                    <a:pos x="141" y="155"/>
                  </a:cxn>
                  <a:cxn ang="0">
                    <a:pos x="131" y="129"/>
                  </a:cxn>
                  <a:cxn ang="0">
                    <a:pos x="131" y="50"/>
                  </a:cxn>
                  <a:cxn ang="0">
                    <a:pos x="141" y="10"/>
                  </a:cxn>
                  <a:cxn ang="0">
                    <a:pos x="131" y="10"/>
                  </a:cxn>
                  <a:cxn ang="0">
                    <a:pos x="94" y="28"/>
                  </a:cxn>
                  <a:cxn ang="0">
                    <a:pos x="76" y="28"/>
                  </a:cxn>
                  <a:cxn ang="0">
                    <a:pos x="51" y="0"/>
                  </a:cxn>
                  <a:cxn ang="0">
                    <a:pos x="30" y="0"/>
                  </a:cxn>
                  <a:cxn ang="0">
                    <a:pos x="9" y="0"/>
                  </a:cxn>
                  <a:cxn ang="0">
                    <a:pos x="0" y="10"/>
                  </a:cxn>
                  <a:cxn ang="0">
                    <a:pos x="9" y="10"/>
                  </a:cxn>
                  <a:cxn ang="0">
                    <a:pos x="18" y="64"/>
                  </a:cxn>
                  <a:cxn ang="0">
                    <a:pos x="0" y="101"/>
                  </a:cxn>
                  <a:cxn ang="0">
                    <a:pos x="0" y="141"/>
                  </a:cxn>
                  <a:cxn ang="0">
                    <a:pos x="9" y="141"/>
                  </a:cxn>
                  <a:cxn ang="0">
                    <a:pos x="64" y="180"/>
                  </a:cxn>
                  <a:cxn ang="0">
                    <a:pos x="76" y="206"/>
                  </a:cxn>
                </a:cxnLst>
                <a:rect l="0" t="0" r="r" b="b"/>
                <a:pathLst>
                  <a:path w="141" h="231">
                    <a:moveTo>
                      <a:pt x="76" y="206"/>
                    </a:moveTo>
                    <a:lnTo>
                      <a:pt x="94" y="231"/>
                    </a:lnTo>
                    <a:lnTo>
                      <a:pt x="116" y="191"/>
                    </a:lnTo>
                    <a:lnTo>
                      <a:pt x="116" y="166"/>
                    </a:lnTo>
                    <a:lnTo>
                      <a:pt x="116" y="180"/>
                    </a:lnTo>
                    <a:lnTo>
                      <a:pt x="141" y="155"/>
                    </a:lnTo>
                    <a:lnTo>
                      <a:pt x="131" y="129"/>
                    </a:lnTo>
                    <a:lnTo>
                      <a:pt x="131" y="50"/>
                    </a:lnTo>
                    <a:lnTo>
                      <a:pt x="141" y="10"/>
                    </a:lnTo>
                    <a:lnTo>
                      <a:pt x="131" y="10"/>
                    </a:lnTo>
                    <a:lnTo>
                      <a:pt x="94" y="28"/>
                    </a:lnTo>
                    <a:lnTo>
                      <a:pt x="76" y="28"/>
                    </a:lnTo>
                    <a:lnTo>
                      <a:pt x="51" y="0"/>
                    </a:lnTo>
                    <a:lnTo>
                      <a:pt x="30" y="0"/>
                    </a:lnTo>
                    <a:lnTo>
                      <a:pt x="9" y="0"/>
                    </a:lnTo>
                    <a:lnTo>
                      <a:pt x="0" y="10"/>
                    </a:lnTo>
                    <a:lnTo>
                      <a:pt x="9" y="10"/>
                    </a:lnTo>
                    <a:lnTo>
                      <a:pt x="18" y="64"/>
                    </a:lnTo>
                    <a:lnTo>
                      <a:pt x="0" y="101"/>
                    </a:lnTo>
                    <a:lnTo>
                      <a:pt x="0" y="141"/>
                    </a:lnTo>
                    <a:lnTo>
                      <a:pt x="9" y="141"/>
                    </a:lnTo>
                    <a:lnTo>
                      <a:pt x="64" y="180"/>
                    </a:lnTo>
                    <a:lnTo>
                      <a:pt x="76" y="20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7" name="Freeform 168">
                <a:extLst>
                  <a:ext uri="{FF2B5EF4-FFF2-40B4-BE49-F238E27FC236}">
                    <a16:creationId xmlns:a16="http://schemas.microsoft.com/office/drawing/2014/main" id="{D76507BB-640D-488A-B1B0-906EFC61F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529" y="4239426"/>
                <a:ext cx="261377" cy="348501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39" y="0"/>
                  </a:cxn>
                  <a:cxn ang="0">
                    <a:pos x="76" y="0"/>
                  </a:cxn>
                  <a:cxn ang="0">
                    <a:pos x="85" y="0"/>
                  </a:cxn>
                  <a:cxn ang="0">
                    <a:pos x="140" y="39"/>
                  </a:cxn>
                  <a:cxn ang="0">
                    <a:pos x="152" y="64"/>
                  </a:cxn>
                  <a:cxn ang="0">
                    <a:pos x="170" y="89"/>
                  </a:cxn>
                  <a:cxn ang="0">
                    <a:pos x="162" y="115"/>
                  </a:cxn>
                  <a:cxn ang="0">
                    <a:pos x="182" y="143"/>
                  </a:cxn>
                  <a:cxn ang="0">
                    <a:pos x="170" y="194"/>
                  </a:cxn>
                  <a:cxn ang="0">
                    <a:pos x="182" y="215"/>
                  </a:cxn>
                  <a:cxn ang="0">
                    <a:pos x="192" y="234"/>
                  </a:cxn>
                  <a:cxn ang="0">
                    <a:pos x="170" y="244"/>
                  </a:cxn>
                  <a:cxn ang="0">
                    <a:pos x="115" y="256"/>
                  </a:cxn>
                  <a:cxn ang="0">
                    <a:pos x="94" y="256"/>
                  </a:cxn>
                  <a:cxn ang="0">
                    <a:pos x="85" y="215"/>
                  </a:cxn>
                  <a:cxn ang="0">
                    <a:pos x="76" y="205"/>
                  </a:cxn>
                  <a:cxn ang="0">
                    <a:pos x="60" y="205"/>
                  </a:cxn>
                  <a:cxn ang="0">
                    <a:pos x="30" y="179"/>
                  </a:cxn>
                  <a:cxn ang="0">
                    <a:pos x="18" y="179"/>
                  </a:cxn>
                  <a:cxn ang="0">
                    <a:pos x="18" y="169"/>
                  </a:cxn>
                  <a:cxn ang="0">
                    <a:pos x="0" y="125"/>
                  </a:cxn>
                  <a:cxn ang="0">
                    <a:pos x="0" y="79"/>
                  </a:cxn>
                  <a:cxn ang="0">
                    <a:pos x="18" y="50"/>
                  </a:cxn>
                  <a:cxn ang="0">
                    <a:pos x="18" y="24"/>
                  </a:cxn>
                  <a:cxn ang="0">
                    <a:pos x="18" y="14"/>
                  </a:cxn>
                  <a:cxn ang="0">
                    <a:pos x="9" y="0"/>
                  </a:cxn>
                </a:cxnLst>
                <a:rect l="0" t="0" r="r" b="b"/>
                <a:pathLst>
                  <a:path w="192" h="256">
                    <a:moveTo>
                      <a:pt x="9" y="0"/>
                    </a:moveTo>
                    <a:lnTo>
                      <a:pt x="39" y="0"/>
                    </a:lnTo>
                    <a:lnTo>
                      <a:pt x="76" y="0"/>
                    </a:lnTo>
                    <a:lnTo>
                      <a:pt x="85" y="0"/>
                    </a:lnTo>
                    <a:lnTo>
                      <a:pt x="140" y="39"/>
                    </a:lnTo>
                    <a:lnTo>
                      <a:pt x="152" y="64"/>
                    </a:lnTo>
                    <a:lnTo>
                      <a:pt x="170" y="89"/>
                    </a:lnTo>
                    <a:lnTo>
                      <a:pt x="162" y="115"/>
                    </a:lnTo>
                    <a:lnTo>
                      <a:pt x="182" y="143"/>
                    </a:lnTo>
                    <a:lnTo>
                      <a:pt x="170" y="194"/>
                    </a:lnTo>
                    <a:lnTo>
                      <a:pt x="182" y="215"/>
                    </a:lnTo>
                    <a:lnTo>
                      <a:pt x="192" y="234"/>
                    </a:lnTo>
                    <a:lnTo>
                      <a:pt x="170" y="244"/>
                    </a:lnTo>
                    <a:lnTo>
                      <a:pt x="115" y="256"/>
                    </a:lnTo>
                    <a:lnTo>
                      <a:pt x="94" y="256"/>
                    </a:lnTo>
                    <a:lnTo>
                      <a:pt x="85" y="215"/>
                    </a:lnTo>
                    <a:lnTo>
                      <a:pt x="76" y="205"/>
                    </a:lnTo>
                    <a:lnTo>
                      <a:pt x="60" y="205"/>
                    </a:lnTo>
                    <a:lnTo>
                      <a:pt x="30" y="179"/>
                    </a:lnTo>
                    <a:lnTo>
                      <a:pt x="18" y="179"/>
                    </a:lnTo>
                    <a:lnTo>
                      <a:pt x="18" y="169"/>
                    </a:lnTo>
                    <a:lnTo>
                      <a:pt x="0" y="125"/>
                    </a:lnTo>
                    <a:lnTo>
                      <a:pt x="0" y="79"/>
                    </a:lnTo>
                    <a:lnTo>
                      <a:pt x="18" y="50"/>
                    </a:lnTo>
                    <a:lnTo>
                      <a:pt x="18" y="24"/>
                    </a:lnTo>
                    <a:lnTo>
                      <a:pt x="18" y="14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8" name="Freeform 170">
                <a:extLst>
                  <a:ext uri="{FF2B5EF4-FFF2-40B4-BE49-F238E27FC236}">
                    <a16:creationId xmlns:a16="http://schemas.microsoft.com/office/drawing/2014/main" id="{BC55DE9B-21E8-4FAA-80AA-16B24BF1BA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413" y="4470853"/>
                <a:ext cx="304939" cy="330803"/>
              </a:xfrm>
              <a:custGeom>
                <a:avLst/>
                <a:gdLst/>
                <a:ahLst/>
                <a:cxnLst>
                  <a:cxn ang="0">
                    <a:pos x="131" y="192"/>
                  </a:cxn>
                  <a:cxn ang="0">
                    <a:pos x="156" y="180"/>
                  </a:cxn>
                  <a:cxn ang="0">
                    <a:pos x="156" y="166"/>
                  </a:cxn>
                  <a:cxn ang="0">
                    <a:pos x="208" y="141"/>
                  </a:cxn>
                  <a:cxn ang="0">
                    <a:pos x="199" y="141"/>
                  </a:cxn>
                  <a:cxn ang="0">
                    <a:pos x="208" y="101"/>
                  </a:cxn>
                  <a:cxn ang="0">
                    <a:pos x="208" y="86"/>
                  </a:cxn>
                  <a:cxn ang="0">
                    <a:pos x="224" y="65"/>
                  </a:cxn>
                  <a:cxn ang="0">
                    <a:pos x="208" y="36"/>
                  </a:cxn>
                  <a:cxn ang="0">
                    <a:pos x="178" y="10"/>
                  </a:cxn>
                  <a:cxn ang="0">
                    <a:pos x="165" y="10"/>
                  </a:cxn>
                  <a:cxn ang="0">
                    <a:pos x="165" y="0"/>
                  </a:cxn>
                  <a:cxn ang="0">
                    <a:pos x="156" y="0"/>
                  </a:cxn>
                  <a:cxn ang="0">
                    <a:pos x="131" y="10"/>
                  </a:cxn>
                  <a:cxn ang="0">
                    <a:pos x="131" y="24"/>
                  </a:cxn>
                  <a:cxn ang="0">
                    <a:pos x="122" y="86"/>
                  </a:cxn>
                  <a:cxn ang="0">
                    <a:pos x="131" y="101"/>
                  </a:cxn>
                  <a:cxn ang="0">
                    <a:pos x="147" y="101"/>
                  </a:cxn>
                  <a:cxn ang="0">
                    <a:pos x="147" y="127"/>
                  </a:cxn>
                  <a:cxn ang="0">
                    <a:pos x="122" y="112"/>
                  </a:cxn>
                  <a:cxn ang="0">
                    <a:pos x="89" y="86"/>
                  </a:cxn>
                  <a:cxn ang="0">
                    <a:pos x="79" y="86"/>
                  </a:cxn>
                  <a:cxn ang="0">
                    <a:pos x="46" y="65"/>
                  </a:cxn>
                  <a:cxn ang="0">
                    <a:pos x="34" y="112"/>
                  </a:cxn>
                  <a:cxn ang="0">
                    <a:pos x="46" y="112"/>
                  </a:cxn>
                  <a:cxn ang="0">
                    <a:pos x="0" y="127"/>
                  </a:cxn>
                  <a:cxn ang="0">
                    <a:pos x="0" y="202"/>
                  </a:cxn>
                  <a:cxn ang="0">
                    <a:pos x="24" y="231"/>
                  </a:cxn>
                  <a:cxn ang="0">
                    <a:pos x="34" y="231"/>
                  </a:cxn>
                  <a:cxn ang="0">
                    <a:pos x="54" y="243"/>
                  </a:cxn>
                  <a:cxn ang="0">
                    <a:pos x="89" y="243"/>
                  </a:cxn>
                  <a:cxn ang="0">
                    <a:pos x="122" y="202"/>
                  </a:cxn>
                  <a:cxn ang="0">
                    <a:pos x="131" y="192"/>
                  </a:cxn>
                </a:cxnLst>
                <a:rect l="0" t="0" r="r" b="b"/>
                <a:pathLst>
                  <a:path w="224" h="243">
                    <a:moveTo>
                      <a:pt x="131" y="192"/>
                    </a:moveTo>
                    <a:lnTo>
                      <a:pt x="156" y="180"/>
                    </a:lnTo>
                    <a:lnTo>
                      <a:pt x="156" y="166"/>
                    </a:lnTo>
                    <a:lnTo>
                      <a:pt x="208" y="141"/>
                    </a:lnTo>
                    <a:lnTo>
                      <a:pt x="199" y="141"/>
                    </a:lnTo>
                    <a:lnTo>
                      <a:pt x="208" y="101"/>
                    </a:lnTo>
                    <a:lnTo>
                      <a:pt x="208" y="86"/>
                    </a:lnTo>
                    <a:lnTo>
                      <a:pt x="224" y="65"/>
                    </a:lnTo>
                    <a:lnTo>
                      <a:pt x="208" y="36"/>
                    </a:lnTo>
                    <a:lnTo>
                      <a:pt x="178" y="10"/>
                    </a:lnTo>
                    <a:lnTo>
                      <a:pt x="165" y="10"/>
                    </a:lnTo>
                    <a:lnTo>
                      <a:pt x="165" y="0"/>
                    </a:lnTo>
                    <a:lnTo>
                      <a:pt x="156" y="0"/>
                    </a:lnTo>
                    <a:lnTo>
                      <a:pt x="131" y="10"/>
                    </a:lnTo>
                    <a:lnTo>
                      <a:pt x="131" y="24"/>
                    </a:lnTo>
                    <a:lnTo>
                      <a:pt x="122" y="86"/>
                    </a:lnTo>
                    <a:lnTo>
                      <a:pt x="131" y="101"/>
                    </a:lnTo>
                    <a:lnTo>
                      <a:pt x="147" y="101"/>
                    </a:lnTo>
                    <a:lnTo>
                      <a:pt x="147" y="127"/>
                    </a:lnTo>
                    <a:lnTo>
                      <a:pt x="122" y="112"/>
                    </a:lnTo>
                    <a:lnTo>
                      <a:pt x="89" y="86"/>
                    </a:lnTo>
                    <a:lnTo>
                      <a:pt x="79" y="86"/>
                    </a:lnTo>
                    <a:lnTo>
                      <a:pt x="46" y="65"/>
                    </a:lnTo>
                    <a:lnTo>
                      <a:pt x="34" y="112"/>
                    </a:lnTo>
                    <a:lnTo>
                      <a:pt x="46" y="112"/>
                    </a:lnTo>
                    <a:lnTo>
                      <a:pt x="0" y="127"/>
                    </a:lnTo>
                    <a:lnTo>
                      <a:pt x="0" y="202"/>
                    </a:lnTo>
                    <a:lnTo>
                      <a:pt x="24" y="231"/>
                    </a:lnTo>
                    <a:lnTo>
                      <a:pt x="34" y="231"/>
                    </a:lnTo>
                    <a:lnTo>
                      <a:pt x="54" y="243"/>
                    </a:lnTo>
                    <a:lnTo>
                      <a:pt x="89" y="243"/>
                    </a:lnTo>
                    <a:lnTo>
                      <a:pt x="122" y="202"/>
                    </a:lnTo>
                    <a:lnTo>
                      <a:pt x="131" y="19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9" name="Freeform 172">
                <a:extLst>
                  <a:ext uri="{FF2B5EF4-FFF2-40B4-BE49-F238E27FC236}">
                    <a16:creationId xmlns:a16="http://schemas.microsoft.com/office/drawing/2014/main" id="{546E9AB0-0E13-406E-8A4E-2C67FAD4D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5782" y="4559340"/>
                <a:ext cx="249124" cy="521390"/>
              </a:xfrm>
              <a:custGeom>
                <a:avLst/>
                <a:gdLst/>
                <a:ahLst/>
                <a:cxnLst>
                  <a:cxn ang="0">
                    <a:pos x="21" y="383"/>
                  </a:cxn>
                  <a:cxn ang="0">
                    <a:pos x="21" y="371"/>
                  </a:cxn>
                  <a:cxn ang="0">
                    <a:pos x="9" y="292"/>
                  </a:cxn>
                  <a:cxn ang="0">
                    <a:pos x="42" y="227"/>
                  </a:cxn>
                  <a:cxn ang="0">
                    <a:pos x="42" y="165"/>
                  </a:cxn>
                  <a:cxn ang="0">
                    <a:pos x="42" y="136"/>
                  </a:cxn>
                  <a:cxn ang="0">
                    <a:pos x="9" y="126"/>
                  </a:cxn>
                  <a:cxn ang="0">
                    <a:pos x="0" y="126"/>
                  </a:cxn>
                  <a:cxn ang="0">
                    <a:pos x="0" y="115"/>
                  </a:cxn>
                  <a:cxn ang="0">
                    <a:pos x="0" y="100"/>
                  </a:cxn>
                  <a:cxn ang="0">
                    <a:pos x="51" y="76"/>
                  </a:cxn>
                  <a:cxn ang="0">
                    <a:pos x="51" y="90"/>
                  </a:cxn>
                  <a:cxn ang="0">
                    <a:pos x="76" y="90"/>
                  </a:cxn>
                  <a:cxn ang="0">
                    <a:pos x="67" y="126"/>
                  </a:cxn>
                  <a:cxn ang="0">
                    <a:pos x="85" y="151"/>
                  </a:cxn>
                  <a:cxn ang="0">
                    <a:pos x="97" y="126"/>
                  </a:cxn>
                  <a:cxn ang="0">
                    <a:pos x="97" y="100"/>
                  </a:cxn>
                  <a:cxn ang="0">
                    <a:pos x="76" y="60"/>
                  </a:cxn>
                  <a:cxn ang="0">
                    <a:pos x="76" y="36"/>
                  </a:cxn>
                  <a:cxn ang="0">
                    <a:pos x="85" y="21"/>
                  </a:cxn>
                  <a:cxn ang="0">
                    <a:pos x="106" y="21"/>
                  </a:cxn>
                  <a:cxn ang="0">
                    <a:pos x="161" y="10"/>
                  </a:cxn>
                  <a:cxn ang="0">
                    <a:pos x="183" y="0"/>
                  </a:cxn>
                  <a:cxn ang="0">
                    <a:pos x="183" y="115"/>
                  </a:cxn>
                  <a:cxn ang="0">
                    <a:pos x="153" y="151"/>
                  </a:cxn>
                  <a:cxn ang="0">
                    <a:pos x="118" y="165"/>
                  </a:cxn>
                  <a:cxn ang="0">
                    <a:pos x="76" y="227"/>
                  </a:cxn>
                  <a:cxn ang="0">
                    <a:pos x="76" y="237"/>
                  </a:cxn>
                  <a:cxn ang="0">
                    <a:pos x="85" y="282"/>
                  </a:cxn>
                  <a:cxn ang="0">
                    <a:pos x="76" y="332"/>
                  </a:cxn>
                  <a:cxn ang="0">
                    <a:pos x="30" y="357"/>
                  </a:cxn>
                  <a:cxn ang="0">
                    <a:pos x="30" y="371"/>
                  </a:cxn>
                  <a:cxn ang="0">
                    <a:pos x="30" y="383"/>
                  </a:cxn>
                  <a:cxn ang="0">
                    <a:pos x="21" y="383"/>
                  </a:cxn>
                </a:cxnLst>
                <a:rect l="0" t="0" r="r" b="b"/>
                <a:pathLst>
                  <a:path w="183" h="383">
                    <a:moveTo>
                      <a:pt x="21" y="383"/>
                    </a:moveTo>
                    <a:lnTo>
                      <a:pt x="21" y="371"/>
                    </a:lnTo>
                    <a:lnTo>
                      <a:pt x="9" y="292"/>
                    </a:lnTo>
                    <a:lnTo>
                      <a:pt x="42" y="227"/>
                    </a:lnTo>
                    <a:lnTo>
                      <a:pt x="42" y="165"/>
                    </a:lnTo>
                    <a:lnTo>
                      <a:pt x="42" y="136"/>
                    </a:lnTo>
                    <a:lnTo>
                      <a:pt x="9" y="126"/>
                    </a:lnTo>
                    <a:lnTo>
                      <a:pt x="0" y="126"/>
                    </a:lnTo>
                    <a:lnTo>
                      <a:pt x="0" y="115"/>
                    </a:lnTo>
                    <a:lnTo>
                      <a:pt x="0" y="100"/>
                    </a:lnTo>
                    <a:lnTo>
                      <a:pt x="51" y="76"/>
                    </a:lnTo>
                    <a:lnTo>
                      <a:pt x="51" y="90"/>
                    </a:lnTo>
                    <a:lnTo>
                      <a:pt x="76" y="90"/>
                    </a:lnTo>
                    <a:lnTo>
                      <a:pt x="67" y="126"/>
                    </a:lnTo>
                    <a:lnTo>
                      <a:pt x="85" y="151"/>
                    </a:lnTo>
                    <a:lnTo>
                      <a:pt x="97" y="126"/>
                    </a:lnTo>
                    <a:lnTo>
                      <a:pt x="97" y="100"/>
                    </a:lnTo>
                    <a:lnTo>
                      <a:pt x="76" y="60"/>
                    </a:lnTo>
                    <a:lnTo>
                      <a:pt x="76" y="36"/>
                    </a:lnTo>
                    <a:lnTo>
                      <a:pt x="85" y="21"/>
                    </a:lnTo>
                    <a:lnTo>
                      <a:pt x="106" y="21"/>
                    </a:lnTo>
                    <a:lnTo>
                      <a:pt x="161" y="10"/>
                    </a:lnTo>
                    <a:lnTo>
                      <a:pt x="183" y="0"/>
                    </a:lnTo>
                    <a:lnTo>
                      <a:pt x="183" y="115"/>
                    </a:lnTo>
                    <a:lnTo>
                      <a:pt x="153" y="151"/>
                    </a:lnTo>
                    <a:lnTo>
                      <a:pt x="118" y="165"/>
                    </a:lnTo>
                    <a:lnTo>
                      <a:pt x="76" y="227"/>
                    </a:lnTo>
                    <a:lnTo>
                      <a:pt x="76" y="237"/>
                    </a:lnTo>
                    <a:lnTo>
                      <a:pt x="85" y="282"/>
                    </a:lnTo>
                    <a:lnTo>
                      <a:pt x="76" y="332"/>
                    </a:lnTo>
                    <a:lnTo>
                      <a:pt x="30" y="357"/>
                    </a:lnTo>
                    <a:lnTo>
                      <a:pt x="30" y="371"/>
                    </a:lnTo>
                    <a:lnTo>
                      <a:pt x="30" y="383"/>
                    </a:lnTo>
                    <a:lnTo>
                      <a:pt x="21" y="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0" name="Freeform 174">
                <a:extLst>
                  <a:ext uri="{FF2B5EF4-FFF2-40B4-BE49-F238E27FC236}">
                    <a16:creationId xmlns:a16="http://schemas.microsoft.com/office/drawing/2014/main" id="{CFE9A34F-9CA3-44E8-887B-C39DA279E8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958" y="4519861"/>
                <a:ext cx="74874" cy="245040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24" y="0"/>
                  </a:cxn>
                  <a:cxn ang="0">
                    <a:pos x="34" y="10"/>
                  </a:cxn>
                  <a:cxn ang="0">
                    <a:pos x="43" y="50"/>
                  </a:cxn>
                  <a:cxn ang="0">
                    <a:pos x="34" y="64"/>
                  </a:cxn>
                  <a:cxn ang="0">
                    <a:pos x="34" y="89"/>
                  </a:cxn>
                  <a:cxn ang="0">
                    <a:pos x="55" y="129"/>
                  </a:cxn>
                  <a:cxn ang="0">
                    <a:pos x="55" y="155"/>
                  </a:cxn>
                  <a:cxn ang="0">
                    <a:pos x="43" y="180"/>
                  </a:cxn>
                  <a:cxn ang="0">
                    <a:pos x="24" y="155"/>
                  </a:cxn>
                  <a:cxn ang="0">
                    <a:pos x="34" y="119"/>
                  </a:cxn>
                  <a:cxn ang="0">
                    <a:pos x="9" y="119"/>
                  </a:cxn>
                  <a:cxn ang="0">
                    <a:pos x="9" y="103"/>
                  </a:cxn>
                  <a:cxn ang="0">
                    <a:pos x="0" y="103"/>
                  </a:cxn>
                  <a:cxn ang="0">
                    <a:pos x="9" y="64"/>
                  </a:cxn>
                  <a:cxn ang="0">
                    <a:pos x="9" y="50"/>
                  </a:cxn>
                  <a:cxn ang="0">
                    <a:pos x="24" y="28"/>
                  </a:cxn>
                  <a:cxn ang="0">
                    <a:pos x="9" y="0"/>
                  </a:cxn>
                </a:cxnLst>
                <a:rect l="0" t="0" r="r" b="b"/>
                <a:pathLst>
                  <a:path w="55" h="180">
                    <a:moveTo>
                      <a:pt x="9" y="0"/>
                    </a:moveTo>
                    <a:lnTo>
                      <a:pt x="24" y="0"/>
                    </a:lnTo>
                    <a:lnTo>
                      <a:pt x="34" y="10"/>
                    </a:lnTo>
                    <a:lnTo>
                      <a:pt x="43" y="50"/>
                    </a:lnTo>
                    <a:lnTo>
                      <a:pt x="34" y="64"/>
                    </a:lnTo>
                    <a:lnTo>
                      <a:pt x="34" y="89"/>
                    </a:lnTo>
                    <a:lnTo>
                      <a:pt x="55" y="129"/>
                    </a:lnTo>
                    <a:lnTo>
                      <a:pt x="55" y="155"/>
                    </a:lnTo>
                    <a:lnTo>
                      <a:pt x="43" y="180"/>
                    </a:lnTo>
                    <a:lnTo>
                      <a:pt x="24" y="155"/>
                    </a:lnTo>
                    <a:lnTo>
                      <a:pt x="34" y="119"/>
                    </a:lnTo>
                    <a:lnTo>
                      <a:pt x="9" y="119"/>
                    </a:lnTo>
                    <a:lnTo>
                      <a:pt x="9" y="103"/>
                    </a:lnTo>
                    <a:lnTo>
                      <a:pt x="0" y="103"/>
                    </a:lnTo>
                    <a:lnTo>
                      <a:pt x="9" y="64"/>
                    </a:lnTo>
                    <a:lnTo>
                      <a:pt x="9" y="50"/>
                    </a:lnTo>
                    <a:lnTo>
                      <a:pt x="24" y="28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1" name="Freeform 176">
                <a:extLst>
                  <a:ext uri="{FF2B5EF4-FFF2-40B4-BE49-F238E27FC236}">
                    <a16:creationId xmlns:a16="http://schemas.microsoft.com/office/drawing/2014/main" id="{6E911E60-838D-4FC1-84AD-23693BA07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6925" y="4717254"/>
                <a:ext cx="196032" cy="240956"/>
              </a:xfrm>
              <a:custGeom>
                <a:avLst/>
                <a:gdLst/>
                <a:ahLst/>
                <a:cxnLst>
                  <a:cxn ang="0">
                    <a:pos x="76" y="166"/>
                  </a:cxn>
                  <a:cxn ang="0">
                    <a:pos x="101" y="166"/>
                  </a:cxn>
                  <a:cxn ang="0">
                    <a:pos x="110" y="177"/>
                  </a:cxn>
                  <a:cxn ang="0">
                    <a:pos x="144" y="112"/>
                  </a:cxn>
                  <a:cxn ang="0">
                    <a:pos x="144" y="50"/>
                  </a:cxn>
                  <a:cxn ang="0">
                    <a:pos x="144" y="21"/>
                  </a:cxn>
                  <a:cxn ang="0">
                    <a:pos x="110" y="11"/>
                  </a:cxn>
                  <a:cxn ang="0">
                    <a:pos x="101" y="11"/>
                  </a:cxn>
                  <a:cxn ang="0">
                    <a:pos x="101" y="0"/>
                  </a:cxn>
                  <a:cxn ang="0">
                    <a:pos x="76" y="11"/>
                  </a:cxn>
                  <a:cxn ang="0">
                    <a:pos x="67" y="21"/>
                  </a:cxn>
                  <a:cxn ang="0">
                    <a:pos x="34" y="61"/>
                  </a:cxn>
                  <a:cxn ang="0">
                    <a:pos x="0" y="61"/>
                  </a:cxn>
                  <a:cxn ang="0">
                    <a:pos x="24" y="100"/>
                  </a:cxn>
                  <a:cxn ang="0">
                    <a:pos x="46" y="123"/>
                  </a:cxn>
                  <a:cxn ang="0">
                    <a:pos x="55" y="152"/>
                  </a:cxn>
                  <a:cxn ang="0">
                    <a:pos x="76" y="166"/>
                  </a:cxn>
                </a:cxnLst>
                <a:rect l="0" t="0" r="r" b="b"/>
                <a:pathLst>
                  <a:path w="144" h="177">
                    <a:moveTo>
                      <a:pt x="76" y="166"/>
                    </a:moveTo>
                    <a:lnTo>
                      <a:pt x="101" y="166"/>
                    </a:lnTo>
                    <a:lnTo>
                      <a:pt x="110" y="177"/>
                    </a:lnTo>
                    <a:lnTo>
                      <a:pt x="144" y="112"/>
                    </a:lnTo>
                    <a:lnTo>
                      <a:pt x="144" y="50"/>
                    </a:lnTo>
                    <a:lnTo>
                      <a:pt x="144" y="21"/>
                    </a:lnTo>
                    <a:lnTo>
                      <a:pt x="110" y="11"/>
                    </a:lnTo>
                    <a:lnTo>
                      <a:pt x="101" y="11"/>
                    </a:lnTo>
                    <a:lnTo>
                      <a:pt x="101" y="0"/>
                    </a:lnTo>
                    <a:lnTo>
                      <a:pt x="76" y="11"/>
                    </a:lnTo>
                    <a:lnTo>
                      <a:pt x="67" y="21"/>
                    </a:lnTo>
                    <a:lnTo>
                      <a:pt x="34" y="61"/>
                    </a:lnTo>
                    <a:lnTo>
                      <a:pt x="0" y="61"/>
                    </a:lnTo>
                    <a:lnTo>
                      <a:pt x="24" y="100"/>
                    </a:lnTo>
                    <a:lnTo>
                      <a:pt x="46" y="123"/>
                    </a:lnTo>
                    <a:lnTo>
                      <a:pt x="55" y="152"/>
                    </a:lnTo>
                    <a:lnTo>
                      <a:pt x="76" y="16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2" name="Freeform 178">
                <a:extLst>
                  <a:ext uri="{FF2B5EF4-FFF2-40B4-BE49-F238E27FC236}">
                    <a16:creationId xmlns:a16="http://schemas.microsoft.com/office/drawing/2014/main" id="{D71A4ABB-4F37-4EC6-8950-C708ED7754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0003" y="4944597"/>
                <a:ext cx="385258" cy="417928"/>
              </a:xfrm>
              <a:custGeom>
                <a:avLst/>
                <a:gdLst/>
                <a:ahLst/>
                <a:cxnLst>
                  <a:cxn ang="0">
                    <a:pos x="228" y="0"/>
                  </a:cxn>
                  <a:cxn ang="0">
                    <a:pos x="198" y="24"/>
                  </a:cxn>
                  <a:cxn ang="0">
                    <a:pos x="151" y="76"/>
                  </a:cxn>
                  <a:cxn ang="0">
                    <a:pos x="143" y="76"/>
                  </a:cxn>
                  <a:cxn ang="0">
                    <a:pos x="121" y="76"/>
                  </a:cxn>
                  <a:cxn ang="0">
                    <a:pos x="97" y="100"/>
                  </a:cxn>
                  <a:cxn ang="0">
                    <a:pos x="76" y="112"/>
                  </a:cxn>
                  <a:cxn ang="0">
                    <a:pos x="67" y="100"/>
                  </a:cxn>
                  <a:cxn ang="0">
                    <a:pos x="76" y="76"/>
                  </a:cxn>
                  <a:cxn ang="0">
                    <a:pos x="54" y="64"/>
                  </a:cxn>
                  <a:cxn ang="0">
                    <a:pos x="54" y="155"/>
                  </a:cxn>
                  <a:cxn ang="0">
                    <a:pos x="45" y="165"/>
                  </a:cxn>
                  <a:cxn ang="0">
                    <a:pos x="21" y="165"/>
                  </a:cxn>
                  <a:cxn ang="0">
                    <a:pos x="9" y="155"/>
                  </a:cxn>
                  <a:cxn ang="0">
                    <a:pos x="0" y="141"/>
                  </a:cxn>
                  <a:cxn ang="0">
                    <a:pos x="0" y="155"/>
                  </a:cxn>
                  <a:cxn ang="0">
                    <a:pos x="0" y="165"/>
                  </a:cxn>
                  <a:cxn ang="0">
                    <a:pos x="21" y="230"/>
                  </a:cxn>
                  <a:cxn ang="0">
                    <a:pos x="29" y="256"/>
                  </a:cxn>
                  <a:cxn ang="0">
                    <a:pos x="21" y="256"/>
                  </a:cxn>
                  <a:cxn ang="0">
                    <a:pos x="29" y="292"/>
                  </a:cxn>
                  <a:cxn ang="0">
                    <a:pos x="29" y="282"/>
                  </a:cxn>
                  <a:cxn ang="0">
                    <a:pos x="45" y="307"/>
                  </a:cxn>
                  <a:cxn ang="0">
                    <a:pos x="54" y="307"/>
                  </a:cxn>
                  <a:cxn ang="0">
                    <a:pos x="97" y="282"/>
                  </a:cxn>
                  <a:cxn ang="0">
                    <a:pos x="143" y="292"/>
                  </a:cxn>
                  <a:cxn ang="0">
                    <a:pos x="176" y="282"/>
                  </a:cxn>
                  <a:cxn ang="0">
                    <a:pos x="207" y="256"/>
                  </a:cxn>
                  <a:cxn ang="0">
                    <a:pos x="243" y="201"/>
                  </a:cxn>
                  <a:cxn ang="0">
                    <a:pos x="262" y="165"/>
                  </a:cxn>
                  <a:cxn ang="0">
                    <a:pos x="274" y="155"/>
                  </a:cxn>
                  <a:cxn ang="0">
                    <a:pos x="283" y="112"/>
                  </a:cxn>
                  <a:cxn ang="0">
                    <a:pos x="283" y="100"/>
                  </a:cxn>
                  <a:cxn ang="0">
                    <a:pos x="274" y="100"/>
                  </a:cxn>
                  <a:cxn ang="0">
                    <a:pos x="262" y="112"/>
                  </a:cxn>
                  <a:cxn ang="0">
                    <a:pos x="253" y="112"/>
                  </a:cxn>
                  <a:cxn ang="0">
                    <a:pos x="262" y="89"/>
                  </a:cxn>
                  <a:cxn ang="0">
                    <a:pos x="274" y="89"/>
                  </a:cxn>
                  <a:cxn ang="0">
                    <a:pos x="262" y="10"/>
                  </a:cxn>
                  <a:cxn ang="0">
                    <a:pos x="253" y="0"/>
                  </a:cxn>
                  <a:cxn ang="0">
                    <a:pos x="228" y="0"/>
                  </a:cxn>
                </a:cxnLst>
                <a:rect l="0" t="0" r="r" b="b"/>
                <a:pathLst>
                  <a:path w="283" h="307">
                    <a:moveTo>
                      <a:pt x="228" y="0"/>
                    </a:moveTo>
                    <a:lnTo>
                      <a:pt x="198" y="24"/>
                    </a:lnTo>
                    <a:lnTo>
                      <a:pt x="151" y="76"/>
                    </a:lnTo>
                    <a:lnTo>
                      <a:pt x="143" y="76"/>
                    </a:lnTo>
                    <a:lnTo>
                      <a:pt x="121" y="76"/>
                    </a:lnTo>
                    <a:lnTo>
                      <a:pt x="97" y="100"/>
                    </a:lnTo>
                    <a:lnTo>
                      <a:pt x="76" y="112"/>
                    </a:lnTo>
                    <a:lnTo>
                      <a:pt x="67" y="100"/>
                    </a:lnTo>
                    <a:lnTo>
                      <a:pt x="76" y="76"/>
                    </a:lnTo>
                    <a:lnTo>
                      <a:pt x="54" y="64"/>
                    </a:lnTo>
                    <a:lnTo>
                      <a:pt x="54" y="155"/>
                    </a:lnTo>
                    <a:lnTo>
                      <a:pt x="45" y="165"/>
                    </a:lnTo>
                    <a:lnTo>
                      <a:pt x="21" y="165"/>
                    </a:lnTo>
                    <a:lnTo>
                      <a:pt x="9" y="155"/>
                    </a:lnTo>
                    <a:lnTo>
                      <a:pt x="0" y="141"/>
                    </a:lnTo>
                    <a:lnTo>
                      <a:pt x="0" y="155"/>
                    </a:lnTo>
                    <a:lnTo>
                      <a:pt x="0" y="165"/>
                    </a:lnTo>
                    <a:lnTo>
                      <a:pt x="21" y="230"/>
                    </a:lnTo>
                    <a:lnTo>
                      <a:pt x="29" y="256"/>
                    </a:lnTo>
                    <a:lnTo>
                      <a:pt x="21" y="256"/>
                    </a:lnTo>
                    <a:lnTo>
                      <a:pt x="29" y="292"/>
                    </a:lnTo>
                    <a:lnTo>
                      <a:pt x="29" y="282"/>
                    </a:lnTo>
                    <a:lnTo>
                      <a:pt x="45" y="307"/>
                    </a:lnTo>
                    <a:lnTo>
                      <a:pt x="54" y="307"/>
                    </a:lnTo>
                    <a:lnTo>
                      <a:pt x="97" y="282"/>
                    </a:lnTo>
                    <a:lnTo>
                      <a:pt x="143" y="292"/>
                    </a:lnTo>
                    <a:lnTo>
                      <a:pt x="176" y="282"/>
                    </a:lnTo>
                    <a:lnTo>
                      <a:pt x="207" y="256"/>
                    </a:lnTo>
                    <a:lnTo>
                      <a:pt x="243" y="201"/>
                    </a:lnTo>
                    <a:lnTo>
                      <a:pt x="262" y="165"/>
                    </a:lnTo>
                    <a:lnTo>
                      <a:pt x="274" y="155"/>
                    </a:lnTo>
                    <a:lnTo>
                      <a:pt x="283" y="112"/>
                    </a:lnTo>
                    <a:lnTo>
                      <a:pt x="283" y="100"/>
                    </a:lnTo>
                    <a:lnTo>
                      <a:pt x="274" y="100"/>
                    </a:lnTo>
                    <a:lnTo>
                      <a:pt x="262" y="112"/>
                    </a:lnTo>
                    <a:lnTo>
                      <a:pt x="253" y="112"/>
                    </a:lnTo>
                    <a:lnTo>
                      <a:pt x="262" y="89"/>
                    </a:lnTo>
                    <a:lnTo>
                      <a:pt x="274" y="89"/>
                    </a:lnTo>
                    <a:lnTo>
                      <a:pt x="262" y="10"/>
                    </a:lnTo>
                    <a:lnTo>
                      <a:pt x="253" y="0"/>
                    </a:lnTo>
                    <a:lnTo>
                      <a:pt x="22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3" name="Freeform 180">
                <a:extLst>
                  <a:ext uri="{FF2B5EF4-FFF2-40B4-BE49-F238E27FC236}">
                    <a16:creationId xmlns:a16="http://schemas.microsoft.com/office/drawing/2014/main" id="{E866FCA6-B55D-4E95-BBC6-56BB18DAC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2928" y="4766263"/>
                <a:ext cx="323998" cy="404315"/>
              </a:xfrm>
              <a:custGeom>
                <a:avLst/>
                <a:gdLst/>
                <a:ahLst/>
                <a:cxnLst>
                  <a:cxn ang="0">
                    <a:pos x="140" y="195"/>
                  </a:cxn>
                  <a:cxn ang="0">
                    <a:pos x="140" y="286"/>
                  </a:cxn>
                  <a:cxn ang="0">
                    <a:pos x="131" y="297"/>
                  </a:cxn>
                  <a:cxn ang="0">
                    <a:pos x="107" y="297"/>
                  </a:cxn>
                  <a:cxn ang="0">
                    <a:pos x="95" y="286"/>
                  </a:cxn>
                  <a:cxn ang="0">
                    <a:pos x="85" y="272"/>
                  </a:cxn>
                  <a:cxn ang="0">
                    <a:pos x="85" y="286"/>
                  </a:cxn>
                  <a:cxn ang="0">
                    <a:pos x="64" y="260"/>
                  </a:cxn>
                  <a:cxn ang="0">
                    <a:pos x="51" y="167"/>
                  </a:cxn>
                  <a:cxn ang="0">
                    <a:pos x="51" y="130"/>
                  </a:cxn>
                  <a:cxn ang="0">
                    <a:pos x="0" y="25"/>
                  </a:cxn>
                  <a:cxn ang="0">
                    <a:pos x="0" y="14"/>
                  </a:cxn>
                  <a:cxn ang="0">
                    <a:pos x="31" y="0"/>
                  </a:cxn>
                  <a:cxn ang="0">
                    <a:pos x="40" y="14"/>
                  </a:cxn>
                  <a:cxn ang="0">
                    <a:pos x="115" y="14"/>
                  </a:cxn>
                  <a:cxn ang="0">
                    <a:pos x="131" y="25"/>
                  </a:cxn>
                  <a:cxn ang="0">
                    <a:pos x="173" y="25"/>
                  </a:cxn>
                  <a:cxn ang="0">
                    <a:pos x="207" y="14"/>
                  </a:cxn>
                  <a:cxn ang="0">
                    <a:pos x="217" y="14"/>
                  </a:cxn>
                  <a:cxn ang="0">
                    <a:pos x="238" y="25"/>
                  </a:cxn>
                  <a:cxn ang="0">
                    <a:pos x="217" y="25"/>
                  </a:cxn>
                  <a:cxn ang="0">
                    <a:pos x="207" y="40"/>
                  </a:cxn>
                  <a:cxn ang="0">
                    <a:pos x="207" y="25"/>
                  </a:cxn>
                  <a:cxn ang="0">
                    <a:pos x="162" y="40"/>
                  </a:cxn>
                  <a:cxn ang="0">
                    <a:pos x="162" y="116"/>
                  </a:cxn>
                  <a:cxn ang="0">
                    <a:pos x="140" y="130"/>
                  </a:cxn>
                  <a:cxn ang="0">
                    <a:pos x="140" y="195"/>
                  </a:cxn>
                </a:cxnLst>
                <a:rect l="0" t="0" r="r" b="b"/>
                <a:pathLst>
                  <a:path w="238" h="297">
                    <a:moveTo>
                      <a:pt x="140" y="195"/>
                    </a:moveTo>
                    <a:lnTo>
                      <a:pt x="140" y="286"/>
                    </a:lnTo>
                    <a:lnTo>
                      <a:pt x="131" y="297"/>
                    </a:lnTo>
                    <a:lnTo>
                      <a:pt x="107" y="297"/>
                    </a:lnTo>
                    <a:lnTo>
                      <a:pt x="95" y="286"/>
                    </a:lnTo>
                    <a:lnTo>
                      <a:pt x="85" y="272"/>
                    </a:lnTo>
                    <a:lnTo>
                      <a:pt x="85" y="286"/>
                    </a:lnTo>
                    <a:lnTo>
                      <a:pt x="64" y="260"/>
                    </a:lnTo>
                    <a:lnTo>
                      <a:pt x="51" y="167"/>
                    </a:lnTo>
                    <a:lnTo>
                      <a:pt x="51" y="130"/>
                    </a:lnTo>
                    <a:lnTo>
                      <a:pt x="0" y="25"/>
                    </a:lnTo>
                    <a:lnTo>
                      <a:pt x="0" y="14"/>
                    </a:lnTo>
                    <a:lnTo>
                      <a:pt x="31" y="0"/>
                    </a:lnTo>
                    <a:lnTo>
                      <a:pt x="40" y="14"/>
                    </a:lnTo>
                    <a:lnTo>
                      <a:pt x="115" y="14"/>
                    </a:lnTo>
                    <a:lnTo>
                      <a:pt x="131" y="25"/>
                    </a:lnTo>
                    <a:lnTo>
                      <a:pt x="173" y="25"/>
                    </a:lnTo>
                    <a:lnTo>
                      <a:pt x="207" y="14"/>
                    </a:lnTo>
                    <a:lnTo>
                      <a:pt x="217" y="14"/>
                    </a:lnTo>
                    <a:lnTo>
                      <a:pt x="238" y="25"/>
                    </a:lnTo>
                    <a:lnTo>
                      <a:pt x="217" y="25"/>
                    </a:lnTo>
                    <a:lnTo>
                      <a:pt x="207" y="40"/>
                    </a:lnTo>
                    <a:lnTo>
                      <a:pt x="207" y="25"/>
                    </a:lnTo>
                    <a:lnTo>
                      <a:pt x="162" y="40"/>
                    </a:lnTo>
                    <a:lnTo>
                      <a:pt x="162" y="116"/>
                    </a:lnTo>
                    <a:lnTo>
                      <a:pt x="140" y="130"/>
                    </a:lnTo>
                    <a:lnTo>
                      <a:pt x="140" y="19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4" name="Freeform 182">
                <a:extLst>
                  <a:ext uri="{FF2B5EF4-FFF2-40B4-BE49-F238E27FC236}">
                    <a16:creationId xmlns:a16="http://schemas.microsoft.com/office/drawing/2014/main" id="{885334A6-3F1C-4FE4-80CA-91CFE070D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2928" y="4397341"/>
                <a:ext cx="311746" cy="404315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9" y="11"/>
                  </a:cxn>
                  <a:cxn ang="0">
                    <a:pos x="31" y="64"/>
                  </a:cxn>
                  <a:cxn ang="0">
                    <a:pos x="18" y="79"/>
                  </a:cxn>
                  <a:cxn ang="0">
                    <a:pos x="40" y="129"/>
                  </a:cxn>
                  <a:cxn ang="0">
                    <a:pos x="31" y="155"/>
                  </a:cxn>
                  <a:cxn ang="0">
                    <a:pos x="18" y="181"/>
                  </a:cxn>
                  <a:cxn ang="0">
                    <a:pos x="0" y="246"/>
                  </a:cxn>
                  <a:cxn ang="0">
                    <a:pos x="0" y="285"/>
                  </a:cxn>
                  <a:cxn ang="0">
                    <a:pos x="31" y="271"/>
                  </a:cxn>
                  <a:cxn ang="0">
                    <a:pos x="40" y="285"/>
                  </a:cxn>
                  <a:cxn ang="0">
                    <a:pos x="116" y="285"/>
                  </a:cxn>
                  <a:cxn ang="0">
                    <a:pos x="131" y="297"/>
                  </a:cxn>
                  <a:cxn ang="0">
                    <a:pos x="174" y="297"/>
                  </a:cxn>
                  <a:cxn ang="0">
                    <a:pos x="208" y="285"/>
                  </a:cxn>
                  <a:cxn ang="0">
                    <a:pos x="183" y="256"/>
                  </a:cxn>
                  <a:cxn ang="0">
                    <a:pos x="183" y="181"/>
                  </a:cxn>
                  <a:cxn ang="0">
                    <a:pos x="229" y="167"/>
                  </a:cxn>
                  <a:cxn ang="0">
                    <a:pos x="217" y="167"/>
                  </a:cxn>
                  <a:cxn ang="0">
                    <a:pos x="229" y="119"/>
                  </a:cxn>
                  <a:cxn ang="0">
                    <a:pos x="183" y="129"/>
                  </a:cxn>
                  <a:cxn ang="0">
                    <a:pos x="195" y="119"/>
                  </a:cxn>
                  <a:cxn ang="0">
                    <a:pos x="183" y="90"/>
                  </a:cxn>
                  <a:cxn ang="0">
                    <a:pos x="183" y="40"/>
                  </a:cxn>
                  <a:cxn ang="0">
                    <a:pos x="162" y="28"/>
                  </a:cxn>
                  <a:cxn ang="0">
                    <a:pos x="140" y="28"/>
                  </a:cxn>
                  <a:cxn ang="0">
                    <a:pos x="140" y="54"/>
                  </a:cxn>
                  <a:cxn ang="0">
                    <a:pos x="107" y="54"/>
                  </a:cxn>
                  <a:cxn ang="0">
                    <a:pos x="95" y="40"/>
                  </a:cxn>
                  <a:cxn ang="0">
                    <a:pos x="85" y="0"/>
                  </a:cxn>
                  <a:cxn ang="0">
                    <a:pos x="76" y="0"/>
                  </a:cxn>
                  <a:cxn ang="0">
                    <a:pos x="31" y="0"/>
                  </a:cxn>
                </a:cxnLst>
                <a:rect l="0" t="0" r="r" b="b"/>
                <a:pathLst>
                  <a:path w="229" h="297">
                    <a:moveTo>
                      <a:pt x="31" y="0"/>
                    </a:moveTo>
                    <a:lnTo>
                      <a:pt x="9" y="11"/>
                    </a:lnTo>
                    <a:lnTo>
                      <a:pt x="31" y="64"/>
                    </a:lnTo>
                    <a:lnTo>
                      <a:pt x="18" y="79"/>
                    </a:lnTo>
                    <a:lnTo>
                      <a:pt x="40" y="129"/>
                    </a:lnTo>
                    <a:lnTo>
                      <a:pt x="31" y="155"/>
                    </a:lnTo>
                    <a:lnTo>
                      <a:pt x="18" y="181"/>
                    </a:lnTo>
                    <a:lnTo>
                      <a:pt x="0" y="246"/>
                    </a:lnTo>
                    <a:lnTo>
                      <a:pt x="0" y="285"/>
                    </a:lnTo>
                    <a:lnTo>
                      <a:pt x="31" y="271"/>
                    </a:lnTo>
                    <a:lnTo>
                      <a:pt x="40" y="285"/>
                    </a:lnTo>
                    <a:lnTo>
                      <a:pt x="116" y="285"/>
                    </a:lnTo>
                    <a:lnTo>
                      <a:pt x="131" y="297"/>
                    </a:lnTo>
                    <a:lnTo>
                      <a:pt x="174" y="297"/>
                    </a:lnTo>
                    <a:lnTo>
                      <a:pt x="208" y="285"/>
                    </a:lnTo>
                    <a:lnTo>
                      <a:pt x="183" y="256"/>
                    </a:lnTo>
                    <a:lnTo>
                      <a:pt x="183" y="181"/>
                    </a:lnTo>
                    <a:lnTo>
                      <a:pt x="229" y="167"/>
                    </a:lnTo>
                    <a:lnTo>
                      <a:pt x="217" y="167"/>
                    </a:lnTo>
                    <a:lnTo>
                      <a:pt x="229" y="119"/>
                    </a:lnTo>
                    <a:lnTo>
                      <a:pt x="183" y="129"/>
                    </a:lnTo>
                    <a:lnTo>
                      <a:pt x="195" y="119"/>
                    </a:lnTo>
                    <a:lnTo>
                      <a:pt x="183" y="90"/>
                    </a:lnTo>
                    <a:lnTo>
                      <a:pt x="183" y="40"/>
                    </a:lnTo>
                    <a:lnTo>
                      <a:pt x="162" y="28"/>
                    </a:lnTo>
                    <a:lnTo>
                      <a:pt x="140" y="28"/>
                    </a:lnTo>
                    <a:lnTo>
                      <a:pt x="140" y="54"/>
                    </a:lnTo>
                    <a:lnTo>
                      <a:pt x="107" y="54"/>
                    </a:lnTo>
                    <a:lnTo>
                      <a:pt x="95" y="40"/>
                    </a:lnTo>
                    <a:lnTo>
                      <a:pt x="85" y="0"/>
                    </a:lnTo>
                    <a:lnTo>
                      <a:pt x="76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5" name="Freeform 184">
                <a:extLst>
                  <a:ext uri="{FF2B5EF4-FFF2-40B4-BE49-F238E27FC236}">
                    <a16:creationId xmlns:a16="http://schemas.microsoft.com/office/drawing/2014/main" id="{AA2BF0F4-9613-4218-AD24-2F682578B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5230" y="4085596"/>
                <a:ext cx="196032" cy="274989"/>
              </a:xfrm>
              <a:custGeom>
                <a:avLst/>
                <a:gdLst/>
                <a:ahLst/>
                <a:cxnLst>
                  <a:cxn ang="0">
                    <a:pos x="31" y="191"/>
                  </a:cxn>
                  <a:cxn ang="0">
                    <a:pos x="21" y="202"/>
                  </a:cxn>
                  <a:cxn ang="0">
                    <a:pos x="0" y="191"/>
                  </a:cxn>
                  <a:cxn ang="0">
                    <a:pos x="12" y="162"/>
                  </a:cxn>
                  <a:cxn ang="0">
                    <a:pos x="12" y="151"/>
                  </a:cxn>
                  <a:cxn ang="0">
                    <a:pos x="31" y="126"/>
                  </a:cxn>
                  <a:cxn ang="0">
                    <a:pos x="52" y="137"/>
                  </a:cxn>
                  <a:cxn ang="0">
                    <a:pos x="52" y="112"/>
                  </a:cxn>
                  <a:cxn ang="0">
                    <a:pos x="52" y="72"/>
                  </a:cxn>
                  <a:cxn ang="0">
                    <a:pos x="52" y="60"/>
                  </a:cxn>
                  <a:cxn ang="0">
                    <a:pos x="52" y="46"/>
                  </a:cxn>
                  <a:cxn ang="0">
                    <a:pos x="52" y="36"/>
                  </a:cxn>
                  <a:cxn ang="0">
                    <a:pos x="43" y="36"/>
                  </a:cxn>
                  <a:cxn ang="0">
                    <a:pos x="89" y="46"/>
                  </a:cxn>
                  <a:cxn ang="0">
                    <a:pos x="89" y="10"/>
                  </a:cxn>
                  <a:cxn ang="0">
                    <a:pos x="98" y="0"/>
                  </a:cxn>
                  <a:cxn ang="0">
                    <a:pos x="107" y="0"/>
                  </a:cxn>
                  <a:cxn ang="0">
                    <a:pos x="120" y="0"/>
                  </a:cxn>
                  <a:cxn ang="0">
                    <a:pos x="144" y="0"/>
                  </a:cxn>
                  <a:cxn ang="0">
                    <a:pos x="128" y="36"/>
                  </a:cxn>
                  <a:cxn ang="0">
                    <a:pos x="120" y="101"/>
                  </a:cxn>
                  <a:cxn ang="0">
                    <a:pos x="98" y="137"/>
                  </a:cxn>
                  <a:cxn ang="0">
                    <a:pos x="89" y="177"/>
                  </a:cxn>
                  <a:cxn ang="0">
                    <a:pos x="64" y="202"/>
                  </a:cxn>
                  <a:cxn ang="0">
                    <a:pos x="52" y="191"/>
                  </a:cxn>
                  <a:cxn ang="0">
                    <a:pos x="43" y="202"/>
                  </a:cxn>
                  <a:cxn ang="0">
                    <a:pos x="31" y="202"/>
                  </a:cxn>
                  <a:cxn ang="0">
                    <a:pos x="31" y="191"/>
                  </a:cxn>
                </a:cxnLst>
                <a:rect l="0" t="0" r="r" b="b"/>
                <a:pathLst>
                  <a:path w="144" h="202">
                    <a:moveTo>
                      <a:pt x="31" y="191"/>
                    </a:moveTo>
                    <a:lnTo>
                      <a:pt x="21" y="202"/>
                    </a:lnTo>
                    <a:lnTo>
                      <a:pt x="0" y="191"/>
                    </a:lnTo>
                    <a:lnTo>
                      <a:pt x="12" y="162"/>
                    </a:lnTo>
                    <a:lnTo>
                      <a:pt x="12" y="151"/>
                    </a:lnTo>
                    <a:lnTo>
                      <a:pt x="31" y="126"/>
                    </a:lnTo>
                    <a:lnTo>
                      <a:pt x="52" y="137"/>
                    </a:lnTo>
                    <a:lnTo>
                      <a:pt x="52" y="112"/>
                    </a:lnTo>
                    <a:lnTo>
                      <a:pt x="52" y="72"/>
                    </a:lnTo>
                    <a:lnTo>
                      <a:pt x="52" y="60"/>
                    </a:lnTo>
                    <a:lnTo>
                      <a:pt x="52" y="46"/>
                    </a:lnTo>
                    <a:lnTo>
                      <a:pt x="52" y="36"/>
                    </a:lnTo>
                    <a:lnTo>
                      <a:pt x="43" y="36"/>
                    </a:lnTo>
                    <a:lnTo>
                      <a:pt x="89" y="46"/>
                    </a:lnTo>
                    <a:lnTo>
                      <a:pt x="89" y="10"/>
                    </a:lnTo>
                    <a:lnTo>
                      <a:pt x="98" y="0"/>
                    </a:lnTo>
                    <a:lnTo>
                      <a:pt x="107" y="0"/>
                    </a:lnTo>
                    <a:lnTo>
                      <a:pt x="120" y="0"/>
                    </a:lnTo>
                    <a:lnTo>
                      <a:pt x="144" y="0"/>
                    </a:lnTo>
                    <a:lnTo>
                      <a:pt x="128" y="36"/>
                    </a:lnTo>
                    <a:lnTo>
                      <a:pt x="120" y="101"/>
                    </a:lnTo>
                    <a:lnTo>
                      <a:pt x="98" y="137"/>
                    </a:lnTo>
                    <a:lnTo>
                      <a:pt x="89" y="177"/>
                    </a:lnTo>
                    <a:lnTo>
                      <a:pt x="64" y="202"/>
                    </a:lnTo>
                    <a:lnTo>
                      <a:pt x="52" y="191"/>
                    </a:lnTo>
                    <a:lnTo>
                      <a:pt x="43" y="202"/>
                    </a:lnTo>
                    <a:lnTo>
                      <a:pt x="31" y="202"/>
                    </a:lnTo>
                    <a:lnTo>
                      <a:pt x="31" y="1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6" name="Freeform 186">
                <a:extLst>
                  <a:ext uri="{FF2B5EF4-FFF2-40B4-BE49-F238E27FC236}">
                    <a16:creationId xmlns:a16="http://schemas.microsoft.com/office/drawing/2014/main" id="{DC0B01CF-36C2-4905-9084-93B9D4E0B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2609" y="4134605"/>
                <a:ext cx="134772" cy="212367"/>
              </a:xfrm>
              <a:custGeom>
                <a:avLst/>
                <a:gdLst/>
                <a:ahLst/>
                <a:cxnLst>
                  <a:cxn ang="0">
                    <a:pos x="99" y="0"/>
                  </a:cxn>
                  <a:cxn ang="0">
                    <a:pos x="89" y="0"/>
                  </a:cxn>
                  <a:cxn ang="0">
                    <a:pos x="45" y="0"/>
                  </a:cxn>
                  <a:cxn ang="0">
                    <a:pos x="45" y="24"/>
                  </a:cxn>
                  <a:cxn ang="0">
                    <a:pos x="21" y="24"/>
                  </a:cxn>
                  <a:cxn ang="0">
                    <a:pos x="12" y="53"/>
                  </a:cxn>
                  <a:cxn ang="0">
                    <a:pos x="12" y="65"/>
                  </a:cxn>
                  <a:cxn ang="0">
                    <a:pos x="0" y="65"/>
                  </a:cxn>
                  <a:cxn ang="0">
                    <a:pos x="21" y="115"/>
                  </a:cxn>
                  <a:cxn ang="0">
                    <a:pos x="45" y="156"/>
                  </a:cxn>
                  <a:cxn ang="0">
                    <a:pos x="58" y="127"/>
                  </a:cxn>
                  <a:cxn ang="0">
                    <a:pos x="58" y="115"/>
                  </a:cxn>
                  <a:cxn ang="0">
                    <a:pos x="77" y="90"/>
                  </a:cxn>
                  <a:cxn ang="0">
                    <a:pos x="99" y="101"/>
                  </a:cxn>
                  <a:cxn ang="0">
                    <a:pos x="99" y="76"/>
                  </a:cxn>
                  <a:cxn ang="0">
                    <a:pos x="99" y="36"/>
                  </a:cxn>
                  <a:cxn ang="0">
                    <a:pos x="99" y="24"/>
                  </a:cxn>
                  <a:cxn ang="0">
                    <a:pos x="99" y="10"/>
                  </a:cxn>
                  <a:cxn ang="0">
                    <a:pos x="99" y="0"/>
                  </a:cxn>
                </a:cxnLst>
                <a:rect l="0" t="0" r="r" b="b"/>
                <a:pathLst>
                  <a:path w="99" h="156">
                    <a:moveTo>
                      <a:pt x="99" y="0"/>
                    </a:moveTo>
                    <a:lnTo>
                      <a:pt x="89" y="0"/>
                    </a:lnTo>
                    <a:lnTo>
                      <a:pt x="45" y="0"/>
                    </a:lnTo>
                    <a:lnTo>
                      <a:pt x="45" y="24"/>
                    </a:lnTo>
                    <a:lnTo>
                      <a:pt x="21" y="24"/>
                    </a:lnTo>
                    <a:lnTo>
                      <a:pt x="12" y="53"/>
                    </a:lnTo>
                    <a:lnTo>
                      <a:pt x="12" y="65"/>
                    </a:lnTo>
                    <a:lnTo>
                      <a:pt x="0" y="65"/>
                    </a:lnTo>
                    <a:lnTo>
                      <a:pt x="21" y="115"/>
                    </a:lnTo>
                    <a:lnTo>
                      <a:pt x="45" y="156"/>
                    </a:lnTo>
                    <a:lnTo>
                      <a:pt x="58" y="127"/>
                    </a:lnTo>
                    <a:lnTo>
                      <a:pt x="58" y="115"/>
                    </a:lnTo>
                    <a:lnTo>
                      <a:pt x="77" y="90"/>
                    </a:lnTo>
                    <a:lnTo>
                      <a:pt x="99" y="101"/>
                    </a:lnTo>
                    <a:lnTo>
                      <a:pt x="99" y="76"/>
                    </a:lnTo>
                    <a:lnTo>
                      <a:pt x="99" y="36"/>
                    </a:lnTo>
                    <a:lnTo>
                      <a:pt x="99" y="24"/>
                    </a:lnTo>
                    <a:lnTo>
                      <a:pt x="99" y="10"/>
                    </a:lnTo>
                    <a:lnTo>
                      <a:pt x="99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7" name="Freeform 445">
                <a:extLst>
                  <a:ext uri="{FF2B5EF4-FFF2-40B4-BE49-F238E27FC236}">
                    <a16:creationId xmlns:a16="http://schemas.microsoft.com/office/drawing/2014/main" id="{E4BA07BC-B84C-4FA1-B4D8-7136FB38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7198" y="3835111"/>
                <a:ext cx="117075" cy="211006"/>
              </a:xfrm>
              <a:custGeom>
                <a:avLst/>
                <a:gdLst/>
                <a:ahLst/>
                <a:cxnLst>
                  <a:cxn ang="0">
                    <a:pos x="76" y="103"/>
                  </a:cxn>
                  <a:cxn ang="0">
                    <a:pos x="86" y="119"/>
                  </a:cxn>
                  <a:cxn ang="0">
                    <a:pos x="76" y="129"/>
                  </a:cxn>
                  <a:cxn ang="0">
                    <a:pos x="64" y="129"/>
                  </a:cxn>
                  <a:cxn ang="0">
                    <a:pos x="21" y="155"/>
                  </a:cxn>
                  <a:cxn ang="0">
                    <a:pos x="0" y="140"/>
                  </a:cxn>
                  <a:cxn ang="0">
                    <a:pos x="9" y="140"/>
                  </a:cxn>
                  <a:cxn ang="0">
                    <a:pos x="0" y="103"/>
                  </a:cxn>
                  <a:cxn ang="0">
                    <a:pos x="21" y="64"/>
                  </a:cxn>
                  <a:cxn ang="0">
                    <a:pos x="9" y="39"/>
                  </a:cxn>
                  <a:cxn ang="0">
                    <a:pos x="9" y="0"/>
                  </a:cxn>
                  <a:cxn ang="0">
                    <a:pos x="52" y="0"/>
                  </a:cxn>
                  <a:cxn ang="0">
                    <a:pos x="64" y="53"/>
                  </a:cxn>
                  <a:cxn ang="0">
                    <a:pos x="76" y="103"/>
                  </a:cxn>
                </a:cxnLst>
                <a:rect l="0" t="0" r="r" b="b"/>
                <a:pathLst>
                  <a:path w="86" h="155">
                    <a:moveTo>
                      <a:pt x="76" y="103"/>
                    </a:moveTo>
                    <a:lnTo>
                      <a:pt x="86" y="119"/>
                    </a:lnTo>
                    <a:lnTo>
                      <a:pt x="76" y="129"/>
                    </a:lnTo>
                    <a:lnTo>
                      <a:pt x="64" y="129"/>
                    </a:lnTo>
                    <a:lnTo>
                      <a:pt x="21" y="155"/>
                    </a:lnTo>
                    <a:lnTo>
                      <a:pt x="0" y="140"/>
                    </a:lnTo>
                    <a:lnTo>
                      <a:pt x="9" y="140"/>
                    </a:lnTo>
                    <a:lnTo>
                      <a:pt x="0" y="103"/>
                    </a:lnTo>
                    <a:lnTo>
                      <a:pt x="21" y="64"/>
                    </a:lnTo>
                    <a:lnTo>
                      <a:pt x="9" y="39"/>
                    </a:lnTo>
                    <a:lnTo>
                      <a:pt x="9" y="0"/>
                    </a:lnTo>
                    <a:lnTo>
                      <a:pt x="52" y="0"/>
                    </a:lnTo>
                    <a:lnTo>
                      <a:pt x="64" y="53"/>
                    </a:lnTo>
                    <a:lnTo>
                      <a:pt x="76" y="1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8" name="Freeform 190">
                <a:extLst>
                  <a:ext uri="{FF2B5EF4-FFF2-40B4-BE49-F238E27FC236}">
                    <a16:creationId xmlns:a16="http://schemas.microsoft.com/office/drawing/2014/main" id="{FF5CC8F0-83AF-40F0-8172-EA39B5C08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988" y="3835111"/>
                <a:ext cx="61260" cy="161999"/>
              </a:xfrm>
              <a:custGeom>
                <a:avLst/>
                <a:gdLst/>
                <a:ahLst/>
                <a:cxnLst>
                  <a:cxn ang="0">
                    <a:pos x="23" y="103"/>
                  </a:cxn>
                  <a:cxn ang="0">
                    <a:pos x="32" y="119"/>
                  </a:cxn>
                  <a:cxn ang="0">
                    <a:pos x="45" y="119"/>
                  </a:cxn>
                  <a:cxn ang="0">
                    <a:pos x="32" y="64"/>
                  </a:cxn>
                  <a:cxn ang="0">
                    <a:pos x="32" y="28"/>
                  </a:cxn>
                  <a:cxn ang="0">
                    <a:pos x="23" y="14"/>
                  </a:cxn>
                  <a:cxn ang="0">
                    <a:pos x="23" y="0"/>
                  </a:cxn>
                  <a:cxn ang="0">
                    <a:pos x="0" y="0"/>
                  </a:cxn>
                  <a:cxn ang="0">
                    <a:pos x="11" y="53"/>
                  </a:cxn>
                  <a:cxn ang="0">
                    <a:pos x="23" y="103"/>
                  </a:cxn>
                </a:cxnLst>
                <a:rect l="0" t="0" r="r" b="b"/>
                <a:pathLst>
                  <a:path w="45" h="119">
                    <a:moveTo>
                      <a:pt x="23" y="103"/>
                    </a:moveTo>
                    <a:lnTo>
                      <a:pt x="32" y="119"/>
                    </a:lnTo>
                    <a:lnTo>
                      <a:pt x="45" y="119"/>
                    </a:lnTo>
                    <a:lnTo>
                      <a:pt x="32" y="64"/>
                    </a:lnTo>
                    <a:lnTo>
                      <a:pt x="32" y="28"/>
                    </a:lnTo>
                    <a:lnTo>
                      <a:pt x="23" y="14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11" y="53"/>
                    </a:lnTo>
                    <a:lnTo>
                      <a:pt x="23" y="1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9" name="Freeform 192">
                <a:extLst>
                  <a:ext uri="{FF2B5EF4-FFF2-40B4-BE49-F238E27FC236}">
                    <a16:creationId xmlns:a16="http://schemas.microsoft.com/office/drawing/2014/main" id="{7E8D351E-FA2F-45AD-A9B0-23D936566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0660" y="3784743"/>
                <a:ext cx="74874" cy="212367"/>
              </a:xfrm>
              <a:custGeom>
                <a:avLst/>
                <a:gdLst/>
                <a:ahLst/>
                <a:cxnLst>
                  <a:cxn ang="0">
                    <a:pos x="9" y="101"/>
                  </a:cxn>
                  <a:cxn ang="0">
                    <a:pos x="21" y="156"/>
                  </a:cxn>
                  <a:cxn ang="0">
                    <a:pos x="31" y="156"/>
                  </a:cxn>
                  <a:cxn ang="0">
                    <a:pos x="31" y="101"/>
                  </a:cxn>
                  <a:cxn ang="0">
                    <a:pos x="55" y="50"/>
                  </a:cxn>
                  <a:cxn ang="0">
                    <a:pos x="55" y="24"/>
                  </a:cxn>
                  <a:cxn ang="0">
                    <a:pos x="43" y="0"/>
                  </a:cxn>
                  <a:cxn ang="0">
                    <a:pos x="31" y="10"/>
                  </a:cxn>
                  <a:cxn ang="0">
                    <a:pos x="21" y="24"/>
                  </a:cxn>
                  <a:cxn ang="0">
                    <a:pos x="9" y="24"/>
                  </a:cxn>
                  <a:cxn ang="0">
                    <a:pos x="0" y="36"/>
                  </a:cxn>
                  <a:cxn ang="0">
                    <a:pos x="0" y="50"/>
                  </a:cxn>
                  <a:cxn ang="0">
                    <a:pos x="9" y="65"/>
                  </a:cxn>
                  <a:cxn ang="0">
                    <a:pos x="9" y="101"/>
                  </a:cxn>
                </a:cxnLst>
                <a:rect l="0" t="0" r="r" b="b"/>
                <a:pathLst>
                  <a:path w="55" h="156">
                    <a:moveTo>
                      <a:pt x="9" y="101"/>
                    </a:moveTo>
                    <a:lnTo>
                      <a:pt x="21" y="156"/>
                    </a:lnTo>
                    <a:lnTo>
                      <a:pt x="31" y="156"/>
                    </a:lnTo>
                    <a:lnTo>
                      <a:pt x="31" y="101"/>
                    </a:lnTo>
                    <a:lnTo>
                      <a:pt x="55" y="50"/>
                    </a:lnTo>
                    <a:lnTo>
                      <a:pt x="55" y="24"/>
                    </a:lnTo>
                    <a:lnTo>
                      <a:pt x="43" y="0"/>
                    </a:lnTo>
                    <a:lnTo>
                      <a:pt x="31" y="10"/>
                    </a:lnTo>
                    <a:lnTo>
                      <a:pt x="21" y="24"/>
                    </a:lnTo>
                    <a:lnTo>
                      <a:pt x="9" y="24"/>
                    </a:lnTo>
                    <a:lnTo>
                      <a:pt x="0" y="36"/>
                    </a:lnTo>
                    <a:lnTo>
                      <a:pt x="0" y="50"/>
                    </a:lnTo>
                    <a:lnTo>
                      <a:pt x="9" y="65"/>
                    </a:lnTo>
                    <a:lnTo>
                      <a:pt x="9" y="10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0" name="Freeform 194">
                <a:extLst>
                  <a:ext uri="{FF2B5EF4-FFF2-40B4-BE49-F238E27FC236}">
                    <a16:creationId xmlns:a16="http://schemas.microsoft.com/office/drawing/2014/main" id="{32BD2268-D830-4DEE-8823-FE326ECF6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9704" y="3854169"/>
                <a:ext cx="166083" cy="205561"/>
              </a:xfrm>
              <a:custGeom>
                <a:avLst/>
                <a:gdLst/>
                <a:ahLst/>
                <a:cxnLst>
                  <a:cxn ang="0">
                    <a:pos x="109" y="126"/>
                  </a:cxn>
                  <a:cxn ang="0">
                    <a:pos x="100" y="126"/>
                  </a:cxn>
                  <a:cxn ang="0">
                    <a:pos x="76" y="126"/>
                  </a:cxn>
                  <a:cxn ang="0">
                    <a:pos x="54" y="126"/>
                  </a:cxn>
                  <a:cxn ang="0">
                    <a:pos x="24" y="151"/>
                  </a:cxn>
                  <a:cxn ang="0">
                    <a:pos x="24" y="115"/>
                  </a:cxn>
                  <a:cxn ang="0">
                    <a:pos x="9" y="103"/>
                  </a:cxn>
                  <a:cxn ang="0">
                    <a:pos x="0" y="76"/>
                  </a:cxn>
                  <a:cxn ang="0">
                    <a:pos x="9" y="64"/>
                  </a:cxn>
                  <a:cxn ang="0">
                    <a:pos x="9" y="50"/>
                  </a:cxn>
                  <a:cxn ang="0">
                    <a:pos x="24" y="50"/>
                  </a:cxn>
                  <a:cxn ang="0">
                    <a:pos x="9" y="24"/>
                  </a:cxn>
                  <a:cxn ang="0">
                    <a:pos x="9" y="0"/>
                  </a:cxn>
                  <a:cxn ang="0">
                    <a:pos x="24" y="0"/>
                  </a:cxn>
                  <a:cxn ang="0">
                    <a:pos x="33" y="0"/>
                  </a:cxn>
                  <a:cxn ang="0">
                    <a:pos x="45" y="0"/>
                  </a:cxn>
                  <a:cxn ang="0">
                    <a:pos x="54" y="0"/>
                  </a:cxn>
                  <a:cxn ang="0">
                    <a:pos x="67" y="0"/>
                  </a:cxn>
                  <a:cxn ang="0">
                    <a:pos x="76" y="14"/>
                  </a:cxn>
                  <a:cxn ang="0">
                    <a:pos x="100" y="14"/>
                  </a:cxn>
                  <a:cxn ang="0">
                    <a:pos x="109" y="24"/>
                  </a:cxn>
                  <a:cxn ang="0">
                    <a:pos x="122" y="50"/>
                  </a:cxn>
                  <a:cxn ang="0">
                    <a:pos x="100" y="89"/>
                  </a:cxn>
                  <a:cxn ang="0">
                    <a:pos x="109" y="126"/>
                  </a:cxn>
                </a:cxnLst>
                <a:rect l="0" t="0" r="r" b="b"/>
                <a:pathLst>
                  <a:path w="122" h="151">
                    <a:moveTo>
                      <a:pt x="109" y="126"/>
                    </a:moveTo>
                    <a:lnTo>
                      <a:pt x="100" y="126"/>
                    </a:lnTo>
                    <a:lnTo>
                      <a:pt x="76" y="126"/>
                    </a:lnTo>
                    <a:lnTo>
                      <a:pt x="54" y="126"/>
                    </a:lnTo>
                    <a:lnTo>
                      <a:pt x="24" y="151"/>
                    </a:lnTo>
                    <a:lnTo>
                      <a:pt x="24" y="115"/>
                    </a:lnTo>
                    <a:lnTo>
                      <a:pt x="9" y="103"/>
                    </a:lnTo>
                    <a:lnTo>
                      <a:pt x="0" y="76"/>
                    </a:lnTo>
                    <a:lnTo>
                      <a:pt x="9" y="64"/>
                    </a:lnTo>
                    <a:lnTo>
                      <a:pt x="9" y="50"/>
                    </a:lnTo>
                    <a:lnTo>
                      <a:pt x="24" y="50"/>
                    </a:lnTo>
                    <a:lnTo>
                      <a:pt x="9" y="24"/>
                    </a:lnTo>
                    <a:lnTo>
                      <a:pt x="9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45" y="0"/>
                    </a:lnTo>
                    <a:lnTo>
                      <a:pt x="54" y="0"/>
                    </a:lnTo>
                    <a:lnTo>
                      <a:pt x="67" y="0"/>
                    </a:lnTo>
                    <a:lnTo>
                      <a:pt x="76" y="14"/>
                    </a:lnTo>
                    <a:lnTo>
                      <a:pt x="100" y="14"/>
                    </a:lnTo>
                    <a:lnTo>
                      <a:pt x="109" y="24"/>
                    </a:lnTo>
                    <a:lnTo>
                      <a:pt x="122" y="50"/>
                    </a:lnTo>
                    <a:lnTo>
                      <a:pt x="100" y="89"/>
                    </a:lnTo>
                    <a:lnTo>
                      <a:pt x="109" y="12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1" name="Freeform 196">
                <a:extLst>
                  <a:ext uri="{FF2B5EF4-FFF2-40B4-BE49-F238E27FC236}">
                    <a16:creationId xmlns:a16="http://schemas.microsoft.com/office/drawing/2014/main" id="{4329CDAA-47AC-48FE-B599-159877EC40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4830" y="3922237"/>
                <a:ext cx="108907" cy="137495"/>
              </a:xfrm>
              <a:custGeom>
                <a:avLst/>
                <a:gdLst/>
                <a:ahLst/>
                <a:cxnLst>
                  <a:cxn ang="0">
                    <a:pos x="55" y="24"/>
                  </a:cxn>
                  <a:cxn ang="0">
                    <a:pos x="45" y="24"/>
                  </a:cxn>
                  <a:cxn ang="0">
                    <a:pos x="33" y="0"/>
                  </a:cxn>
                  <a:cxn ang="0">
                    <a:pos x="23" y="0"/>
                  </a:cxn>
                  <a:cxn ang="0">
                    <a:pos x="0" y="39"/>
                  </a:cxn>
                  <a:cxn ang="0">
                    <a:pos x="64" y="90"/>
                  </a:cxn>
                  <a:cxn ang="0">
                    <a:pos x="80" y="101"/>
                  </a:cxn>
                  <a:cxn ang="0">
                    <a:pos x="80" y="64"/>
                  </a:cxn>
                  <a:cxn ang="0">
                    <a:pos x="64" y="53"/>
                  </a:cxn>
                  <a:cxn ang="0">
                    <a:pos x="55" y="24"/>
                  </a:cxn>
                </a:cxnLst>
                <a:rect l="0" t="0" r="r" b="b"/>
                <a:pathLst>
                  <a:path w="80" h="101">
                    <a:moveTo>
                      <a:pt x="55" y="24"/>
                    </a:moveTo>
                    <a:lnTo>
                      <a:pt x="45" y="24"/>
                    </a:lnTo>
                    <a:lnTo>
                      <a:pt x="33" y="0"/>
                    </a:lnTo>
                    <a:lnTo>
                      <a:pt x="23" y="0"/>
                    </a:lnTo>
                    <a:lnTo>
                      <a:pt x="0" y="39"/>
                    </a:lnTo>
                    <a:lnTo>
                      <a:pt x="64" y="90"/>
                    </a:lnTo>
                    <a:lnTo>
                      <a:pt x="80" y="101"/>
                    </a:lnTo>
                    <a:lnTo>
                      <a:pt x="80" y="64"/>
                    </a:lnTo>
                    <a:lnTo>
                      <a:pt x="64" y="53"/>
                    </a:lnTo>
                    <a:lnTo>
                      <a:pt x="55" y="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2" name="Freeform 198">
                <a:extLst>
                  <a:ext uri="{FF2B5EF4-FFF2-40B4-BE49-F238E27FC236}">
                    <a16:creationId xmlns:a16="http://schemas.microsoft.com/office/drawing/2014/main" id="{BAF49AC1-31DA-48EC-9F3F-E9D90F378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1419" y="3641802"/>
                <a:ext cx="149747" cy="142940"/>
              </a:xfrm>
              <a:custGeom>
                <a:avLst/>
                <a:gdLst/>
                <a:ahLst/>
                <a:cxnLst>
                  <a:cxn ang="0">
                    <a:pos x="97" y="50"/>
                  </a:cxn>
                  <a:cxn ang="0">
                    <a:pos x="76" y="24"/>
                  </a:cxn>
                  <a:cxn ang="0">
                    <a:pos x="54" y="0"/>
                  </a:cxn>
                  <a:cxn ang="0">
                    <a:pos x="30" y="14"/>
                  </a:cxn>
                  <a:cxn ang="0">
                    <a:pos x="21" y="24"/>
                  </a:cxn>
                  <a:cxn ang="0">
                    <a:pos x="0" y="50"/>
                  </a:cxn>
                  <a:cxn ang="0">
                    <a:pos x="12" y="64"/>
                  </a:cxn>
                  <a:cxn ang="0">
                    <a:pos x="12" y="79"/>
                  </a:cxn>
                  <a:cxn ang="0">
                    <a:pos x="30" y="64"/>
                  </a:cxn>
                  <a:cxn ang="0">
                    <a:pos x="66" y="79"/>
                  </a:cxn>
                  <a:cxn ang="0">
                    <a:pos x="54" y="89"/>
                  </a:cxn>
                  <a:cxn ang="0">
                    <a:pos x="30" y="79"/>
                  </a:cxn>
                  <a:cxn ang="0">
                    <a:pos x="12" y="89"/>
                  </a:cxn>
                  <a:cxn ang="0">
                    <a:pos x="12" y="105"/>
                  </a:cxn>
                  <a:cxn ang="0">
                    <a:pos x="66" y="105"/>
                  </a:cxn>
                  <a:cxn ang="0">
                    <a:pos x="110" y="105"/>
                  </a:cxn>
                  <a:cxn ang="0">
                    <a:pos x="97" y="50"/>
                  </a:cxn>
                </a:cxnLst>
                <a:rect l="0" t="0" r="r" b="b"/>
                <a:pathLst>
                  <a:path w="110" h="105">
                    <a:moveTo>
                      <a:pt x="97" y="50"/>
                    </a:moveTo>
                    <a:lnTo>
                      <a:pt x="76" y="24"/>
                    </a:lnTo>
                    <a:lnTo>
                      <a:pt x="54" y="0"/>
                    </a:lnTo>
                    <a:lnTo>
                      <a:pt x="30" y="14"/>
                    </a:lnTo>
                    <a:lnTo>
                      <a:pt x="21" y="24"/>
                    </a:lnTo>
                    <a:lnTo>
                      <a:pt x="0" y="50"/>
                    </a:lnTo>
                    <a:lnTo>
                      <a:pt x="12" y="64"/>
                    </a:lnTo>
                    <a:lnTo>
                      <a:pt x="12" y="79"/>
                    </a:lnTo>
                    <a:lnTo>
                      <a:pt x="30" y="64"/>
                    </a:lnTo>
                    <a:lnTo>
                      <a:pt x="66" y="79"/>
                    </a:lnTo>
                    <a:lnTo>
                      <a:pt x="54" y="89"/>
                    </a:lnTo>
                    <a:lnTo>
                      <a:pt x="30" y="79"/>
                    </a:lnTo>
                    <a:lnTo>
                      <a:pt x="12" y="89"/>
                    </a:lnTo>
                    <a:lnTo>
                      <a:pt x="12" y="105"/>
                    </a:lnTo>
                    <a:lnTo>
                      <a:pt x="66" y="105"/>
                    </a:lnTo>
                    <a:lnTo>
                      <a:pt x="110" y="105"/>
                    </a:lnTo>
                    <a:lnTo>
                      <a:pt x="97" y="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3" name="Freeform 200">
                <a:extLst>
                  <a:ext uri="{FF2B5EF4-FFF2-40B4-BE49-F238E27FC236}">
                    <a16:creationId xmlns:a16="http://schemas.microsoft.com/office/drawing/2014/main" id="{981578F0-754D-4D7E-80BD-AFF95FFD39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7754" y="3291941"/>
                <a:ext cx="296771" cy="417928"/>
              </a:xfrm>
              <a:custGeom>
                <a:avLst/>
                <a:gdLst/>
                <a:ahLst/>
                <a:cxnLst>
                  <a:cxn ang="0">
                    <a:pos x="86" y="307"/>
                  </a:cxn>
                  <a:cxn ang="0">
                    <a:pos x="98" y="281"/>
                  </a:cxn>
                  <a:cxn ang="0">
                    <a:pos x="110" y="295"/>
                  </a:cxn>
                  <a:cxn ang="0">
                    <a:pos x="119" y="281"/>
                  </a:cxn>
                  <a:cxn ang="0">
                    <a:pos x="208" y="281"/>
                  </a:cxn>
                  <a:cxn ang="0">
                    <a:pos x="186" y="50"/>
                  </a:cxn>
                  <a:cxn ang="0">
                    <a:pos x="218" y="50"/>
                  </a:cxn>
                  <a:cxn ang="0">
                    <a:pos x="150" y="0"/>
                  </a:cxn>
                  <a:cxn ang="0">
                    <a:pos x="150" y="24"/>
                  </a:cxn>
                  <a:cxn ang="0">
                    <a:pos x="98" y="24"/>
                  </a:cxn>
                  <a:cxn ang="0">
                    <a:pos x="98" y="89"/>
                  </a:cxn>
                  <a:cxn ang="0">
                    <a:pos x="76" y="104"/>
                  </a:cxn>
                  <a:cxn ang="0">
                    <a:pos x="76" y="140"/>
                  </a:cxn>
                  <a:cxn ang="0">
                    <a:pos x="9" y="140"/>
                  </a:cxn>
                  <a:cxn ang="0">
                    <a:pos x="0" y="151"/>
                  </a:cxn>
                  <a:cxn ang="0">
                    <a:pos x="9" y="168"/>
                  </a:cxn>
                  <a:cxn ang="0">
                    <a:pos x="9" y="190"/>
                  </a:cxn>
                  <a:cxn ang="0">
                    <a:pos x="9" y="230"/>
                  </a:cxn>
                  <a:cxn ang="0">
                    <a:pos x="9" y="281"/>
                  </a:cxn>
                  <a:cxn ang="0">
                    <a:pos x="18" y="270"/>
                  </a:cxn>
                  <a:cxn ang="0">
                    <a:pos x="42" y="256"/>
                  </a:cxn>
                  <a:cxn ang="0">
                    <a:pos x="64" y="281"/>
                  </a:cxn>
                  <a:cxn ang="0">
                    <a:pos x="86" y="307"/>
                  </a:cxn>
                </a:cxnLst>
                <a:rect l="0" t="0" r="r" b="b"/>
                <a:pathLst>
                  <a:path w="218" h="307">
                    <a:moveTo>
                      <a:pt x="86" y="307"/>
                    </a:moveTo>
                    <a:lnTo>
                      <a:pt x="98" y="281"/>
                    </a:lnTo>
                    <a:lnTo>
                      <a:pt x="110" y="295"/>
                    </a:lnTo>
                    <a:lnTo>
                      <a:pt x="119" y="281"/>
                    </a:lnTo>
                    <a:lnTo>
                      <a:pt x="208" y="281"/>
                    </a:lnTo>
                    <a:lnTo>
                      <a:pt x="186" y="50"/>
                    </a:lnTo>
                    <a:lnTo>
                      <a:pt x="218" y="50"/>
                    </a:lnTo>
                    <a:lnTo>
                      <a:pt x="150" y="0"/>
                    </a:lnTo>
                    <a:lnTo>
                      <a:pt x="150" y="24"/>
                    </a:lnTo>
                    <a:lnTo>
                      <a:pt x="98" y="24"/>
                    </a:lnTo>
                    <a:lnTo>
                      <a:pt x="98" y="89"/>
                    </a:lnTo>
                    <a:lnTo>
                      <a:pt x="76" y="104"/>
                    </a:lnTo>
                    <a:lnTo>
                      <a:pt x="76" y="140"/>
                    </a:lnTo>
                    <a:lnTo>
                      <a:pt x="9" y="140"/>
                    </a:lnTo>
                    <a:lnTo>
                      <a:pt x="0" y="151"/>
                    </a:lnTo>
                    <a:lnTo>
                      <a:pt x="9" y="168"/>
                    </a:lnTo>
                    <a:lnTo>
                      <a:pt x="9" y="190"/>
                    </a:lnTo>
                    <a:lnTo>
                      <a:pt x="9" y="230"/>
                    </a:lnTo>
                    <a:lnTo>
                      <a:pt x="9" y="281"/>
                    </a:lnTo>
                    <a:lnTo>
                      <a:pt x="18" y="270"/>
                    </a:lnTo>
                    <a:lnTo>
                      <a:pt x="42" y="256"/>
                    </a:lnTo>
                    <a:lnTo>
                      <a:pt x="64" y="281"/>
                    </a:lnTo>
                    <a:lnTo>
                      <a:pt x="86" y="30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4" name="Freeform 202">
                <a:extLst>
                  <a:ext uri="{FF2B5EF4-FFF2-40B4-BE49-F238E27FC236}">
                    <a16:creationId xmlns:a16="http://schemas.microsoft.com/office/drawing/2014/main" id="{45BCC2FD-1960-42F8-A725-26B7BAB15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7754" y="3270159"/>
                <a:ext cx="205562" cy="227342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77" y="0"/>
                  </a:cxn>
                  <a:cxn ang="0">
                    <a:pos x="64" y="28"/>
                  </a:cxn>
                  <a:cxn ang="0">
                    <a:pos x="55" y="40"/>
                  </a:cxn>
                  <a:cxn ang="0">
                    <a:pos x="42" y="76"/>
                  </a:cxn>
                  <a:cxn ang="0">
                    <a:pos x="0" y="141"/>
                  </a:cxn>
                  <a:cxn ang="0">
                    <a:pos x="0" y="167"/>
                  </a:cxn>
                  <a:cxn ang="0">
                    <a:pos x="9" y="155"/>
                  </a:cxn>
                  <a:cxn ang="0">
                    <a:pos x="77" y="155"/>
                  </a:cxn>
                  <a:cxn ang="0">
                    <a:pos x="77" y="119"/>
                  </a:cxn>
                  <a:cxn ang="0">
                    <a:pos x="98" y="105"/>
                  </a:cxn>
                  <a:cxn ang="0">
                    <a:pos x="98" y="40"/>
                  </a:cxn>
                  <a:cxn ang="0">
                    <a:pos x="151" y="40"/>
                  </a:cxn>
                  <a:cxn ang="0">
                    <a:pos x="151" y="14"/>
                  </a:cxn>
                  <a:cxn ang="0">
                    <a:pos x="151" y="0"/>
                  </a:cxn>
                </a:cxnLst>
                <a:rect l="0" t="0" r="r" b="b"/>
                <a:pathLst>
                  <a:path w="151" h="167">
                    <a:moveTo>
                      <a:pt x="151" y="0"/>
                    </a:moveTo>
                    <a:lnTo>
                      <a:pt x="77" y="0"/>
                    </a:lnTo>
                    <a:lnTo>
                      <a:pt x="64" y="28"/>
                    </a:lnTo>
                    <a:lnTo>
                      <a:pt x="55" y="40"/>
                    </a:lnTo>
                    <a:lnTo>
                      <a:pt x="42" y="76"/>
                    </a:lnTo>
                    <a:lnTo>
                      <a:pt x="0" y="141"/>
                    </a:lnTo>
                    <a:lnTo>
                      <a:pt x="0" y="167"/>
                    </a:lnTo>
                    <a:lnTo>
                      <a:pt x="9" y="155"/>
                    </a:lnTo>
                    <a:lnTo>
                      <a:pt x="77" y="155"/>
                    </a:lnTo>
                    <a:lnTo>
                      <a:pt x="77" y="119"/>
                    </a:lnTo>
                    <a:lnTo>
                      <a:pt x="98" y="105"/>
                    </a:lnTo>
                    <a:lnTo>
                      <a:pt x="98" y="40"/>
                    </a:lnTo>
                    <a:lnTo>
                      <a:pt x="151" y="40"/>
                    </a:lnTo>
                    <a:lnTo>
                      <a:pt x="151" y="14"/>
                    </a:lnTo>
                    <a:lnTo>
                      <a:pt x="151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5" name="Freeform 313">
                <a:extLst>
                  <a:ext uri="{FF2B5EF4-FFF2-40B4-BE49-F238E27FC236}">
                    <a16:creationId xmlns:a16="http://schemas.microsoft.com/office/drawing/2014/main" id="{D02DC23E-CB58-4A76-ADB1-57C7E1710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2562" y="3008789"/>
                <a:ext cx="283156" cy="260016"/>
              </a:xfrm>
              <a:custGeom>
                <a:avLst/>
                <a:gdLst/>
                <a:ahLst/>
                <a:cxnLst>
                  <a:cxn ang="0">
                    <a:pos x="208" y="28"/>
                  </a:cxn>
                  <a:cxn ang="0">
                    <a:pos x="195" y="11"/>
                  </a:cxn>
                  <a:cxn ang="0">
                    <a:pos x="186" y="11"/>
                  </a:cxn>
                  <a:cxn ang="0">
                    <a:pos x="150" y="11"/>
                  </a:cxn>
                  <a:cxn ang="0">
                    <a:pos x="140" y="0"/>
                  </a:cxn>
                  <a:cxn ang="0">
                    <a:pos x="131" y="0"/>
                  </a:cxn>
                  <a:cxn ang="0">
                    <a:pos x="119" y="40"/>
                  </a:cxn>
                  <a:cxn ang="0">
                    <a:pos x="88" y="64"/>
                  </a:cxn>
                  <a:cxn ang="0">
                    <a:pos x="73" y="75"/>
                  </a:cxn>
                  <a:cxn ang="0">
                    <a:pos x="64" y="100"/>
                  </a:cxn>
                  <a:cxn ang="0">
                    <a:pos x="64" y="130"/>
                  </a:cxn>
                  <a:cxn ang="0">
                    <a:pos x="54" y="155"/>
                  </a:cxn>
                  <a:cxn ang="0">
                    <a:pos x="33" y="176"/>
                  </a:cxn>
                  <a:cxn ang="0">
                    <a:pos x="0" y="191"/>
                  </a:cxn>
                  <a:cxn ang="0">
                    <a:pos x="73" y="191"/>
                  </a:cxn>
                  <a:cxn ang="0">
                    <a:pos x="73" y="166"/>
                  </a:cxn>
                  <a:cxn ang="0">
                    <a:pos x="88" y="155"/>
                  </a:cxn>
                  <a:cxn ang="0">
                    <a:pos x="140" y="140"/>
                  </a:cxn>
                  <a:cxn ang="0">
                    <a:pos x="164" y="119"/>
                  </a:cxn>
                  <a:cxn ang="0">
                    <a:pos x="164" y="100"/>
                  </a:cxn>
                  <a:cxn ang="0">
                    <a:pos x="208" y="90"/>
                  </a:cxn>
                  <a:cxn ang="0">
                    <a:pos x="208" y="28"/>
                  </a:cxn>
                </a:cxnLst>
                <a:rect l="0" t="0" r="r" b="b"/>
                <a:pathLst>
                  <a:path w="208" h="191">
                    <a:moveTo>
                      <a:pt x="208" y="28"/>
                    </a:moveTo>
                    <a:lnTo>
                      <a:pt x="195" y="11"/>
                    </a:lnTo>
                    <a:lnTo>
                      <a:pt x="186" y="11"/>
                    </a:lnTo>
                    <a:lnTo>
                      <a:pt x="150" y="11"/>
                    </a:lnTo>
                    <a:lnTo>
                      <a:pt x="140" y="0"/>
                    </a:lnTo>
                    <a:lnTo>
                      <a:pt x="131" y="0"/>
                    </a:lnTo>
                    <a:lnTo>
                      <a:pt x="119" y="40"/>
                    </a:lnTo>
                    <a:lnTo>
                      <a:pt x="88" y="64"/>
                    </a:lnTo>
                    <a:lnTo>
                      <a:pt x="73" y="75"/>
                    </a:lnTo>
                    <a:lnTo>
                      <a:pt x="64" y="100"/>
                    </a:lnTo>
                    <a:lnTo>
                      <a:pt x="64" y="130"/>
                    </a:lnTo>
                    <a:lnTo>
                      <a:pt x="54" y="155"/>
                    </a:lnTo>
                    <a:lnTo>
                      <a:pt x="33" y="176"/>
                    </a:lnTo>
                    <a:lnTo>
                      <a:pt x="0" y="191"/>
                    </a:lnTo>
                    <a:lnTo>
                      <a:pt x="73" y="191"/>
                    </a:lnTo>
                    <a:lnTo>
                      <a:pt x="73" y="166"/>
                    </a:lnTo>
                    <a:lnTo>
                      <a:pt x="88" y="155"/>
                    </a:lnTo>
                    <a:lnTo>
                      <a:pt x="140" y="140"/>
                    </a:lnTo>
                    <a:lnTo>
                      <a:pt x="164" y="119"/>
                    </a:lnTo>
                    <a:lnTo>
                      <a:pt x="164" y="100"/>
                    </a:lnTo>
                    <a:lnTo>
                      <a:pt x="208" y="90"/>
                    </a:lnTo>
                    <a:lnTo>
                      <a:pt x="208" y="2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6" name="Freeform 315">
                <a:extLst>
                  <a:ext uri="{FF2B5EF4-FFF2-40B4-BE49-F238E27FC236}">
                    <a16:creationId xmlns:a16="http://schemas.microsoft.com/office/drawing/2014/main" id="{B6B4429E-9C76-48C3-A956-7CFD51A944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6666" y="3799728"/>
                <a:ext cx="250484" cy="458772"/>
              </a:xfrm>
              <a:custGeom>
                <a:avLst/>
                <a:gdLst/>
                <a:ahLst/>
                <a:cxnLst>
                  <a:cxn ang="0">
                    <a:pos x="9" y="191"/>
                  </a:cxn>
                  <a:cxn ang="0">
                    <a:pos x="39" y="181"/>
                  </a:cxn>
                  <a:cxn ang="0">
                    <a:pos x="76" y="166"/>
                  </a:cxn>
                  <a:cxn ang="0">
                    <a:pos x="116" y="105"/>
                  </a:cxn>
                  <a:cxn ang="0">
                    <a:pos x="107" y="105"/>
                  </a:cxn>
                  <a:cxn ang="0">
                    <a:pos x="51" y="79"/>
                  </a:cxn>
                  <a:cxn ang="0">
                    <a:pos x="30" y="40"/>
                  </a:cxn>
                  <a:cxn ang="0">
                    <a:pos x="30" y="25"/>
                  </a:cxn>
                  <a:cxn ang="0">
                    <a:pos x="30" y="14"/>
                  </a:cxn>
                  <a:cxn ang="0">
                    <a:pos x="51" y="40"/>
                  </a:cxn>
                  <a:cxn ang="0">
                    <a:pos x="61" y="40"/>
                  </a:cxn>
                  <a:cxn ang="0">
                    <a:pos x="107" y="25"/>
                  </a:cxn>
                  <a:cxn ang="0">
                    <a:pos x="141" y="25"/>
                  </a:cxn>
                  <a:cxn ang="0">
                    <a:pos x="162" y="14"/>
                  </a:cxn>
                  <a:cxn ang="0">
                    <a:pos x="171" y="0"/>
                  </a:cxn>
                  <a:cxn ang="0">
                    <a:pos x="184" y="14"/>
                  </a:cxn>
                  <a:cxn ang="0">
                    <a:pos x="171" y="40"/>
                  </a:cxn>
                  <a:cxn ang="0">
                    <a:pos x="141" y="155"/>
                  </a:cxn>
                  <a:cxn ang="0">
                    <a:pos x="116" y="191"/>
                  </a:cxn>
                  <a:cxn ang="0">
                    <a:pos x="97" y="231"/>
                  </a:cxn>
                  <a:cxn ang="0">
                    <a:pos x="39" y="282"/>
                  </a:cxn>
                  <a:cxn ang="0">
                    <a:pos x="9" y="337"/>
                  </a:cxn>
                  <a:cxn ang="0">
                    <a:pos x="0" y="311"/>
                  </a:cxn>
                  <a:cxn ang="0">
                    <a:pos x="0" y="231"/>
                  </a:cxn>
                  <a:cxn ang="0">
                    <a:pos x="9" y="191"/>
                  </a:cxn>
                </a:cxnLst>
                <a:rect l="0" t="0" r="r" b="b"/>
                <a:pathLst>
                  <a:path w="184" h="337">
                    <a:moveTo>
                      <a:pt x="9" y="191"/>
                    </a:moveTo>
                    <a:lnTo>
                      <a:pt x="39" y="181"/>
                    </a:lnTo>
                    <a:lnTo>
                      <a:pt x="76" y="166"/>
                    </a:lnTo>
                    <a:lnTo>
                      <a:pt x="116" y="105"/>
                    </a:lnTo>
                    <a:lnTo>
                      <a:pt x="107" y="105"/>
                    </a:lnTo>
                    <a:lnTo>
                      <a:pt x="51" y="79"/>
                    </a:lnTo>
                    <a:lnTo>
                      <a:pt x="30" y="40"/>
                    </a:lnTo>
                    <a:lnTo>
                      <a:pt x="30" y="25"/>
                    </a:lnTo>
                    <a:lnTo>
                      <a:pt x="30" y="14"/>
                    </a:lnTo>
                    <a:lnTo>
                      <a:pt x="51" y="40"/>
                    </a:lnTo>
                    <a:lnTo>
                      <a:pt x="61" y="40"/>
                    </a:lnTo>
                    <a:lnTo>
                      <a:pt x="107" y="25"/>
                    </a:lnTo>
                    <a:lnTo>
                      <a:pt x="141" y="25"/>
                    </a:lnTo>
                    <a:lnTo>
                      <a:pt x="162" y="14"/>
                    </a:lnTo>
                    <a:lnTo>
                      <a:pt x="171" y="0"/>
                    </a:lnTo>
                    <a:lnTo>
                      <a:pt x="184" y="14"/>
                    </a:lnTo>
                    <a:lnTo>
                      <a:pt x="171" y="40"/>
                    </a:lnTo>
                    <a:lnTo>
                      <a:pt x="141" y="155"/>
                    </a:lnTo>
                    <a:lnTo>
                      <a:pt x="116" y="191"/>
                    </a:lnTo>
                    <a:lnTo>
                      <a:pt x="97" y="231"/>
                    </a:lnTo>
                    <a:lnTo>
                      <a:pt x="39" y="282"/>
                    </a:lnTo>
                    <a:lnTo>
                      <a:pt x="9" y="337"/>
                    </a:lnTo>
                    <a:lnTo>
                      <a:pt x="0" y="311"/>
                    </a:lnTo>
                    <a:lnTo>
                      <a:pt x="0" y="231"/>
                    </a:lnTo>
                    <a:lnTo>
                      <a:pt x="9" y="1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7" name="Freeform 317">
                <a:extLst>
                  <a:ext uri="{FF2B5EF4-FFF2-40B4-BE49-F238E27FC236}">
                    <a16:creationId xmlns:a16="http://schemas.microsoft.com/office/drawing/2014/main" id="{04F4F0AD-3E61-4988-9E87-C5516E4FD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7740" y="3730300"/>
                <a:ext cx="74874" cy="4084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0" y="16"/>
                  </a:cxn>
                  <a:cxn ang="0">
                    <a:pos x="18" y="0"/>
                  </a:cxn>
                  <a:cxn ang="0">
                    <a:pos x="55" y="16"/>
                  </a:cxn>
                  <a:cxn ang="0">
                    <a:pos x="42" y="30"/>
                  </a:cxn>
                  <a:cxn ang="0">
                    <a:pos x="18" y="16"/>
                  </a:cxn>
                  <a:cxn ang="0">
                    <a:pos x="0" y="30"/>
                  </a:cxn>
                </a:cxnLst>
                <a:rect l="0" t="0" r="r" b="b"/>
                <a:pathLst>
                  <a:path w="55" h="30">
                    <a:moveTo>
                      <a:pt x="0" y="30"/>
                    </a:moveTo>
                    <a:lnTo>
                      <a:pt x="0" y="16"/>
                    </a:lnTo>
                    <a:lnTo>
                      <a:pt x="18" y="0"/>
                    </a:lnTo>
                    <a:lnTo>
                      <a:pt x="55" y="16"/>
                    </a:lnTo>
                    <a:lnTo>
                      <a:pt x="42" y="30"/>
                    </a:lnTo>
                    <a:lnTo>
                      <a:pt x="18" y="16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8" name="Freeform 319">
                <a:extLst>
                  <a:ext uri="{FF2B5EF4-FFF2-40B4-BE49-F238E27FC236}">
                    <a16:creationId xmlns:a16="http://schemas.microsoft.com/office/drawing/2014/main" id="{81A2DFA0-93DC-4127-BBAF-27155C3791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7741" y="3784753"/>
                <a:ext cx="74874" cy="49008"/>
              </a:xfrm>
              <a:custGeom>
                <a:avLst/>
                <a:gdLst/>
                <a:ahLst/>
                <a:cxnLst>
                  <a:cxn ang="0">
                    <a:pos x="55" y="0"/>
                  </a:cxn>
                  <a:cxn ang="0">
                    <a:pos x="0" y="0"/>
                  </a:cxn>
                  <a:cxn ang="0">
                    <a:pos x="9" y="10"/>
                  </a:cxn>
                  <a:cxn ang="0">
                    <a:pos x="18" y="10"/>
                  </a:cxn>
                  <a:cxn ang="0">
                    <a:pos x="18" y="36"/>
                  </a:cxn>
                  <a:cxn ang="0">
                    <a:pos x="34" y="36"/>
                  </a:cxn>
                  <a:cxn ang="0">
                    <a:pos x="34" y="24"/>
                  </a:cxn>
                  <a:cxn ang="0">
                    <a:pos x="55" y="24"/>
                  </a:cxn>
                  <a:cxn ang="0">
                    <a:pos x="55" y="0"/>
                  </a:cxn>
                </a:cxnLst>
                <a:rect l="0" t="0" r="r" b="b"/>
                <a:pathLst>
                  <a:path w="55" h="36">
                    <a:moveTo>
                      <a:pt x="55" y="0"/>
                    </a:moveTo>
                    <a:lnTo>
                      <a:pt x="0" y="0"/>
                    </a:lnTo>
                    <a:lnTo>
                      <a:pt x="9" y="10"/>
                    </a:lnTo>
                    <a:lnTo>
                      <a:pt x="18" y="10"/>
                    </a:lnTo>
                    <a:lnTo>
                      <a:pt x="18" y="36"/>
                    </a:lnTo>
                    <a:lnTo>
                      <a:pt x="34" y="36"/>
                    </a:lnTo>
                    <a:lnTo>
                      <a:pt x="34" y="24"/>
                    </a:lnTo>
                    <a:lnTo>
                      <a:pt x="55" y="24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9" name="Freeform 321">
                <a:extLst>
                  <a:ext uri="{FF2B5EF4-FFF2-40B4-BE49-F238E27FC236}">
                    <a16:creationId xmlns:a16="http://schemas.microsoft.com/office/drawing/2014/main" id="{10D170C0-8BDE-4D57-BE14-C49D0BBD0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2613" y="3873240"/>
                <a:ext cx="72151" cy="10210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21" y="0"/>
                  </a:cxn>
                  <a:cxn ang="0">
                    <a:pos x="42" y="0"/>
                  </a:cxn>
                  <a:cxn ang="0">
                    <a:pos x="53" y="24"/>
                  </a:cxn>
                  <a:cxn ang="0">
                    <a:pos x="53" y="35"/>
                  </a:cxn>
                  <a:cxn ang="0">
                    <a:pos x="30" y="75"/>
                  </a:cxn>
                  <a:cxn ang="0">
                    <a:pos x="9" y="50"/>
                  </a:cxn>
                  <a:cxn ang="0">
                    <a:pos x="0" y="10"/>
                  </a:cxn>
                </a:cxnLst>
                <a:rect l="0" t="0" r="r" b="b"/>
                <a:pathLst>
                  <a:path w="53" h="75">
                    <a:moveTo>
                      <a:pt x="0" y="10"/>
                    </a:moveTo>
                    <a:lnTo>
                      <a:pt x="21" y="0"/>
                    </a:lnTo>
                    <a:lnTo>
                      <a:pt x="42" y="0"/>
                    </a:lnTo>
                    <a:lnTo>
                      <a:pt x="53" y="24"/>
                    </a:lnTo>
                    <a:lnTo>
                      <a:pt x="53" y="35"/>
                    </a:lnTo>
                    <a:lnTo>
                      <a:pt x="30" y="75"/>
                    </a:lnTo>
                    <a:lnTo>
                      <a:pt x="9" y="5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0" name="Freeform 323">
                <a:extLst>
                  <a:ext uri="{FF2B5EF4-FFF2-40B4-BE49-F238E27FC236}">
                    <a16:creationId xmlns:a16="http://schemas.microsoft.com/office/drawing/2014/main" id="{1EA42ACE-B0A7-455F-9FE1-17E4DB017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3089" y="4272112"/>
                <a:ext cx="44924" cy="73513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15" y="25"/>
                  </a:cxn>
                  <a:cxn ang="0">
                    <a:pos x="15" y="54"/>
                  </a:cxn>
                  <a:cxn ang="0">
                    <a:pos x="33" y="25"/>
                  </a:cxn>
                  <a:cxn ang="0">
                    <a:pos x="33" y="0"/>
                  </a:cxn>
                  <a:cxn ang="0">
                    <a:pos x="0" y="14"/>
                  </a:cxn>
                </a:cxnLst>
                <a:rect l="0" t="0" r="r" b="b"/>
                <a:pathLst>
                  <a:path w="33" h="54">
                    <a:moveTo>
                      <a:pt x="0" y="14"/>
                    </a:moveTo>
                    <a:lnTo>
                      <a:pt x="15" y="25"/>
                    </a:lnTo>
                    <a:lnTo>
                      <a:pt x="15" y="54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1" name="Freeform 325">
                <a:extLst>
                  <a:ext uri="{FF2B5EF4-FFF2-40B4-BE49-F238E27FC236}">
                    <a16:creationId xmlns:a16="http://schemas.microsoft.com/office/drawing/2014/main" id="{18EE0AA7-DD9B-4E4E-A218-91B2826AF0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3495" y="4801672"/>
                <a:ext cx="238233" cy="295411"/>
              </a:xfrm>
              <a:custGeom>
                <a:avLst/>
                <a:gdLst/>
                <a:ahLst/>
                <a:cxnLst>
                  <a:cxn ang="0">
                    <a:pos x="97" y="0"/>
                  </a:cxn>
                  <a:cxn ang="0">
                    <a:pos x="77" y="0"/>
                  </a:cxn>
                  <a:cxn ang="0">
                    <a:pos x="67" y="14"/>
                  </a:cxn>
                  <a:cxn ang="0">
                    <a:pos x="67" y="0"/>
                  </a:cxn>
                  <a:cxn ang="0">
                    <a:pos x="21" y="14"/>
                  </a:cxn>
                  <a:cxn ang="0">
                    <a:pos x="21" y="90"/>
                  </a:cxn>
                  <a:cxn ang="0">
                    <a:pos x="0" y="104"/>
                  </a:cxn>
                  <a:cxn ang="0">
                    <a:pos x="0" y="169"/>
                  </a:cxn>
                  <a:cxn ang="0">
                    <a:pos x="21" y="181"/>
                  </a:cxn>
                  <a:cxn ang="0">
                    <a:pos x="12" y="205"/>
                  </a:cxn>
                  <a:cxn ang="0">
                    <a:pos x="21" y="217"/>
                  </a:cxn>
                  <a:cxn ang="0">
                    <a:pos x="42" y="205"/>
                  </a:cxn>
                  <a:cxn ang="0">
                    <a:pos x="67" y="181"/>
                  </a:cxn>
                  <a:cxn ang="0">
                    <a:pos x="89" y="181"/>
                  </a:cxn>
                  <a:cxn ang="0">
                    <a:pos x="97" y="181"/>
                  </a:cxn>
                  <a:cxn ang="0">
                    <a:pos x="144" y="129"/>
                  </a:cxn>
                  <a:cxn ang="0">
                    <a:pos x="175" y="104"/>
                  </a:cxn>
                  <a:cxn ang="0">
                    <a:pos x="154" y="90"/>
                  </a:cxn>
                  <a:cxn ang="0">
                    <a:pos x="144" y="61"/>
                  </a:cxn>
                  <a:cxn ang="0">
                    <a:pos x="122" y="40"/>
                  </a:cxn>
                  <a:cxn ang="0">
                    <a:pos x="97" y="0"/>
                  </a:cxn>
                </a:cxnLst>
                <a:rect l="0" t="0" r="r" b="b"/>
                <a:pathLst>
                  <a:path w="175" h="217">
                    <a:moveTo>
                      <a:pt x="97" y="0"/>
                    </a:moveTo>
                    <a:lnTo>
                      <a:pt x="77" y="0"/>
                    </a:lnTo>
                    <a:lnTo>
                      <a:pt x="67" y="14"/>
                    </a:lnTo>
                    <a:lnTo>
                      <a:pt x="67" y="0"/>
                    </a:lnTo>
                    <a:lnTo>
                      <a:pt x="21" y="14"/>
                    </a:lnTo>
                    <a:lnTo>
                      <a:pt x="21" y="90"/>
                    </a:lnTo>
                    <a:lnTo>
                      <a:pt x="0" y="104"/>
                    </a:lnTo>
                    <a:lnTo>
                      <a:pt x="0" y="169"/>
                    </a:lnTo>
                    <a:lnTo>
                      <a:pt x="21" y="181"/>
                    </a:lnTo>
                    <a:lnTo>
                      <a:pt x="12" y="205"/>
                    </a:lnTo>
                    <a:lnTo>
                      <a:pt x="21" y="217"/>
                    </a:lnTo>
                    <a:lnTo>
                      <a:pt x="42" y="205"/>
                    </a:lnTo>
                    <a:lnTo>
                      <a:pt x="67" y="181"/>
                    </a:lnTo>
                    <a:lnTo>
                      <a:pt x="89" y="181"/>
                    </a:lnTo>
                    <a:lnTo>
                      <a:pt x="97" y="181"/>
                    </a:lnTo>
                    <a:lnTo>
                      <a:pt x="144" y="129"/>
                    </a:lnTo>
                    <a:lnTo>
                      <a:pt x="175" y="104"/>
                    </a:lnTo>
                    <a:lnTo>
                      <a:pt x="154" y="90"/>
                    </a:lnTo>
                    <a:lnTo>
                      <a:pt x="144" y="61"/>
                    </a:lnTo>
                    <a:lnTo>
                      <a:pt x="122" y="40"/>
                    </a:lnTo>
                    <a:lnTo>
                      <a:pt x="97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2" name="Freeform 381">
                <a:extLst>
                  <a:ext uri="{FF2B5EF4-FFF2-40B4-BE49-F238E27FC236}">
                    <a16:creationId xmlns:a16="http://schemas.microsoft.com/office/drawing/2014/main" id="{E8766F37-63D7-4B39-8799-E024001DA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8867" y="4608362"/>
                <a:ext cx="178334" cy="436990"/>
              </a:xfrm>
              <a:custGeom>
                <a:avLst/>
                <a:gdLst/>
                <a:ahLst/>
                <a:cxnLst>
                  <a:cxn ang="0">
                    <a:pos x="0" y="231"/>
                  </a:cxn>
                  <a:cxn ang="0">
                    <a:pos x="21" y="191"/>
                  </a:cxn>
                  <a:cxn ang="0">
                    <a:pos x="9" y="129"/>
                  </a:cxn>
                  <a:cxn ang="0">
                    <a:pos x="21" y="90"/>
                  </a:cxn>
                  <a:cxn ang="0">
                    <a:pos x="85" y="64"/>
                  </a:cxn>
                  <a:cxn ang="0">
                    <a:pos x="85" y="40"/>
                  </a:cxn>
                  <a:cxn ang="0">
                    <a:pos x="97" y="24"/>
                  </a:cxn>
                  <a:cxn ang="0">
                    <a:pos x="110" y="0"/>
                  </a:cxn>
                  <a:cxn ang="0">
                    <a:pos x="121" y="11"/>
                  </a:cxn>
                  <a:cxn ang="0">
                    <a:pos x="131" y="79"/>
                  </a:cxn>
                  <a:cxn ang="0">
                    <a:pos x="121" y="90"/>
                  </a:cxn>
                  <a:cxn ang="0">
                    <a:pos x="121" y="79"/>
                  </a:cxn>
                  <a:cxn ang="0">
                    <a:pos x="110" y="155"/>
                  </a:cxn>
                  <a:cxn ang="0">
                    <a:pos x="67" y="310"/>
                  </a:cxn>
                  <a:cxn ang="0">
                    <a:pos x="55" y="310"/>
                  </a:cxn>
                  <a:cxn ang="0">
                    <a:pos x="21" y="321"/>
                  </a:cxn>
                  <a:cxn ang="0">
                    <a:pos x="9" y="321"/>
                  </a:cxn>
                  <a:cxn ang="0">
                    <a:pos x="0" y="296"/>
                  </a:cxn>
                  <a:cxn ang="0">
                    <a:pos x="0" y="231"/>
                  </a:cxn>
                </a:cxnLst>
                <a:rect l="0" t="0" r="r" b="b"/>
                <a:pathLst>
                  <a:path w="131" h="321">
                    <a:moveTo>
                      <a:pt x="0" y="231"/>
                    </a:moveTo>
                    <a:lnTo>
                      <a:pt x="21" y="191"/>
                    </a:lnTo>
                    <a:lnTo>
                      <a:pt x="9" y="129"/>
                    </a:lnTo>
                    <a:lnTo>
                      <a:pt x="21" y="90"/>
                    </a:lnTo>
                    <a:lnTo>
                      <a:pt x="85" y="64"/>
                    </a:lnTo>
                    <a:lnTo>
                      <a:pt x="85" y="40"/>
                    </a:lnTo>
                    <a:lnTo>
                      <a:pt x="97" y="24"/>
                    </a:lnTo>
                    <a:lnTo>
                      <a:pt x="110" y="0"/>
                    </a:lnTo>
                    <a:lnTo>
                      <a:pt x="121" y="11"/>
                    </a:lnTo>
                    <a:lnTo>
                      <a:pt x="131" y="79"/>
                    </a:lnTo>
                    <a:lnTo>
                      <a:pt x="121" y="90"/>
                    </a:lnTo>
                    <a:lnTo>
                      <a:pt x="121" y="79"/>
                    </a:lnTo>
                    <a:lnTo>
                      <a:pt x="110" y="155"/>
                    </a:lnTo>
                    <a:lnTo>
                      <a:pt x="67" y="310"/>
                    </a:lnTo>
                    <a:lnTo>
                      <a:pt x="55" y="310"/>
                    </a:lnTo>
                    <a:lnTo>
                      <a:pt x="21" y="321"/>
                    </a:lnTo>
                    <a:lnTo>
                      <a:pt x="9" y="321"/>
                    </a:lnTo>
                    <a:lnTo>
                      <a:pt x="0" y="296"/>
                    </a:lnTo>
                    <a:lnTo>
                      <a:pt x="0" y="23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3" name="Freeform 461">
                <a:extLst>
                  <a:ext uri="{FF2B5EF4-FFF2-40B4-BE49-F238E27FC236}">
                    <a16:creationId xmlns:a16="http://schemas.microsoft.com/office/drawing/2014/main" id="{F093EFF0-9BEB-455B-94E2-5458E3D115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4548" y="5155593"/>
                <a:ext cx="44924" cy="63983"/>
              </a:xfrm>
              <a:custGeom>
                <a:avLst/>
                <a:gdLst/>
                <a:ahLst/>
                <a:cxnLst>
                  <a:cxn ang="0">
                    <a:pos x="33" y="10"/>
                  </a:cxn>
                  <a:cxn ang="0">
                    <a:pos x="33" y="0"/>
                  </a:cxn>
                  <a:cxn ang="0">
                    <a:pos x="21" y="0"/>
                  </a:cxn>
                  <a:cxn ang="0">
                    <a:pos x="0" y="21"/>
                  </a:cxn>
                  <a:cxn ang="0">
                    <a:pos x="12" y="47"/>
                  </a:cxn>
                  <a:cxn ang="0">
                    <a:pos x="33" y="21"/>
                  </a:cxn>
                  <a:cxn ang="0">
                    <a:pos x="33" y="10"/>
                  </a:cxn>
                </a:cxnLst>
                <a:rect l="0" t="0" r="r" b="b"/>
                <a:pathLst>
                  <a:path w="33" h="47">
                    <a:moveTo>
                      <a:pt x="33" y="10"/>
                    </a:moveTo>
                    <a:lnTo>
                      <a:pt x="33" y="0"/>
                    </a:lnTo>
                    <a:lnTo>
                      <a:pt x="21" y="0"/>
                    </a:lnTo>
                    <a:lnTo>
                      <a:pt x="0" y="21"/>
                    </a:lnTo>
                    <a:lnTo>
                      <a:pt x="12" y="47"/>
                    </a:lnTo>
                    <a:lnTo>
                      <a:pt x="33" y="21"/>
                    </a:lnTo>
                    <a:lnTo>
                      <a:pt x="33" y="1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4" name="Freeform 204">
                <a:extLst>
                  <a:ext uri="{FF2B5EF4-FFF2-40B4-BE49-F238E27FC236}">
                    <a16:creationId xmlns:a16="http://schemas.microsoft.com/office/drawing/2014/main" id="{D321DB2A-69AF-4997-85D1-4AFE010AC9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8105" y="2961136"/>
                <a:ext cx="85764" cy="227342"/>
              </a:xfrm>
              <a:custGeom>
                <a:avLst/>
                <a:gdLst/>
                <a:ahLst/>
                <a:cxnLst>
                  <a:cxn ang="0">
                    <a:pos x="63" y="102"/>
                  </a:cxn>
                  <a:cxn ang="0">
                    <a:pos x="63" y="87"/>
                  </a:cxn>
                  <a:cxn ang="0">
                    <a:pos x="39" y="87"/>
                  </a:cxn>
                  <a:cxn ang="0">
                    <a:pos x="39" y="76"/>
                  </a:cxn>
                  <a:cxn ang="0">
                    <a:pos x="63" y="47"/>
                  </a:cxn>
                  <a:cxn ang="0">
                    <a:pos x="51" y="21"/>
                  </a:cxn>
                  <a:cxn ang="0">
                    <a:pos x="63" y="11"/>
                  </a:cxn>
                  <a:cxn ang="0">
                    <a:pos x="51" y="11"/>
                  </a:cxn>
                  <a:cxn ang="0">
                    <a:pos x="39" y="11"/>
                  </a:cxn>
                  <a:cxn ang="0">
                    <a:pos x="39" y="0"/>
                  </a:cxn>
                  <a:cxn ang="0">
                    <a:pos x="18" y="11"/>
                  </a:cxn>
                  <a:cxn ang="0">
                    <a:pos x="18" y="21"/>
                  </a:cxn>
                  <a:cxn ang="0">
                    <a:pos x="18" y="64"/>
                  </a:cxn>
                  <a:cxn ang="0">
                    <a:pos x="0" y="87"/>
                  </a:cxn>
                  <a:cxn ang="0">
                    <a:pos x="9" y="112"/>
                  </a:cxn>
                  <a:cxn ang="0">
                    <a:pos x="30" y="126"/>
                  </a:cxn>
                  <a:cxn ang="0">
                    <a:pos x="30" y="167"/>
                  </a:cxn>
                  <a:cxn ang="0">
                    <a:pos x="39" y="167"/>
                  </a:cxn>
                  <a:cxn ang="0">
                    <a:pos x="39" y="138"/>
                  </a:cxn>
                  <a:cxn ang="0">
                    <a:pos x="63" y="126"/>
                  </a:cxn>
                  <a:cxn ang="0">
                    <a:pos x="63" y="102"/>
                  </a:cxn>
                </a:cxnLst>
                <a:rect l="0" t="0" r="r" b="b"/>
                <a:pathLst>
                  <a:path w="63" h="167">
                    <a:moveTo>
                      <a:pt x="63" y="102"/>
                    </a:moveTo>
                    <a:lnTo>
                      <a:pt x="63" y="87"/>
                    </a:lnTo>
                    <a:lnTo>
                      <a:pt x="39" y="87"/>
                    </a:lnTo>
                    <a:lnTo>
                      <a:pt x="39" y="76"/>
                    </a:lnTo>
                    <a:lnTo>
                      <a:pt x="63" y="47"/>
                    </a:lnTo>
                    <a:lnTo>
                      <a:pt x="51" y="21"/>
                    </a:lnTo>
                    <a:lnTo>
                      <a:pt x="63" y="11"/>
                    </a:lnTo>
                    <a:lnTo>
                      <a:pt x="51" y="11"/>
                    </a:lnTo>
                    <a:lnTo>
                      <a:pt x="39" y="11"/>
                    </a:lnTo>
                    <a:lnTo>
                      <a:pt x="39" y="0"/>
                    </a:lnTo>
                    <a:lnTo>
                      <a:pt x="18" y="11"/>
                    </a:lnTo>
                    <a:lnTo>
                      <a:pt x="18" y="21"/>
                    </a:lnTo>
                    <a:lnTo>
                      <a:pt x="18" y="64"/>
                    </a:lnTo>
                    <a:lnTo>
                      <a:pt x="0" y="87"/>
                    </a:lnTo>
                    <a:lnTo>
                      <a:pt x="9" y="112"/>
                    </a:lnTo>
                    <a:lnTo>
                      <a:pt x="30" y="126"/>
                    </a:lnTo>
                    <a:lnTo>
                      <a:pt x="30" y="167"/>
                    </a:lnTo>
                    <a:lnTo>
                      <a:pt x="39" y="167"/>
                    </a:lnTo>
                    <a:lnTo>
                      <a:pt x="39" y="138"/>
                    </a:lnTo>
                    <a:lnTo>
                      <a:pt x="63" y="126"/>
                    </a:lnTo>
                    <a:lnTo>
                      <a:pt x="63" y="1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" name="Freeform 20">
                <a:extLst>
                  <a:ext uri="{FF2B5EF4-FFF2-40B4-BE49-F238E27FC236}">
                    <a16:creationId xmlns:a16="http://schemas.microsoft.com/office/drawing/2014/main" id="{FB0778FF-2C05-4A0E-A0AC-3115227A47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8792" y="3730290"/>
                <a:ext cx="61260" cy="5445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" y="0"/>
                  </a:cxn>
                  <a:cxn ang="0">
                    <a:pos x="21" y="14"/>
                  </a:cxn>
                  <a:cxn ang="0">
                    <a:pos x="45" y="14"/>
                  </a:cxn>
                  <a:cxn ang="0">
                    <a:pos x="45" y="24"/>
                  </a:cxn>
                  <a:cxn ang="0">
                    <a:pos x="21" y="40"/>
                  </a:cxn>
                  <a:cxn ang="0">
                    <a:pos x="0" y="0"/>
                  </a:cxn>
                </a:cxnLst>
                <a:rect l="0" t="0" r="r" b="b"/>
                <a:pathLst>
                  <a:path w="45" h="40">
                    <a:moveTo>
                      <a:pt x="0" y="0"/>
                    </a:moveTo>
                    <a:lnTo>
                      <a:pt x="21" y="0"/>
                    </a:lnTo>
                    <a:lnTo>
                      <a:pt x="21" y="14"/>
                    </a:lnTo>
                    <a:lnTo>
                      <a:pt x="45" y="14"/>
                    </a:lnTo>
                    <a:lnTo>
                      <a:pt x="45" y="24"/>
                    </a:lnTo>
                    <a:lnTo>
                      <a:pt x="21" y="4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" name="Freeform 82">
                <a:extLst>
                  <a:ext uri="{FF2B5EF4-FFF2-40B4-BE49-F238E27FC236}">
                    <a16:creationId xmlns:a16="http://schemas.microsoft.com/office/drawing/2014/main" id="{C9159F67-343B-4876-A986-6C5E346DC2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2950" y="2763745"/>
                <a:ext cx="220536" cy="136133"/>
              </a:xfrm>
              <a:custGeom>
                <a:avLst/>
                <a:gdLst/>
                <a:ahLst/>
                <a:cxnLst>
                  <a:cxn ang="0">
                    <a:pos x="9" y="78"/>
                  </a:cxn>
                  <a:cxn ang="0">
                    <a:pos x="30" y="78"/>
                  </a:cxn>
                  <a:cxn ang="0">
                    <a:pos x="54" y="64"/>
                  </a:cxn>
                  <a:cxn ang="0">
                    <a:pos x="21" y="38"/>
                  </a:cxn>
                  <a:cxn ang="0">
                    <a:pos x="21" y="53"/>
                  </a:cxn>
                  <a:cxn ang="0">
                    <a:pos x="0" y="38"/>
                  </a:cxn>
                  <a:cxn ang="0">
                    <a:pos x="9" y="24"/>
                  </a:cxn>
                  <a:cxn ang="0">
                    <a:pos x="9" y="10"/>
                  </a:cxn>
                  <a:cxn ang="0">
                    <a:pos x="21" y="10"/>
                  </a:cxn>
                  <a:cxn ang="0">
                    <a:pos x="42" y="24"/>
                  </a:cxn>
                  <a:cxn ang="0">
                    <a:pos x="54" y="10"/>
                  </a:cxn>
                  <a:cxn ang="0">
                    <a:pos x="54" y="0"/>
                  </a:cxn>
                  <a:cxn ang="0">
                    <a:pos x="76" y="10"/>
                  </a:cxn>
                  <a:cxn ang="0">
                    <a:pos x="140" y="10"/>
                  </a:cxn>
                  <a:cxn ang="0">
                    <a:pos x="162" y="24"/>
                  </a:cxn>
                  <a:cxn ang="0">
                    <a:pos x="162" y="38"/>
                  </a:cxn>
                  <a:cxn ang="0">
                    <a:pos x="140" y="53"/>
                  </a:cxn>
                  <a:cxn ang="0">
                    <a:pos x="118" y="53"/>
                  </a:cxn>
                  <a:cxn ang="0">
                    <a:pos x="118" y="64"/>
                  </a:cxn>
                  <a:cxn ang="0">
                    <a:pos x="85" y="64"/>
                  </a:cxn>
                  <a:cxn ang="0">
                    <a:pos x="76" y="78"/>
                  </a:cxn>
                  <a:cxn ang="0">
                    <a:pos x="76" y="88"/>
                  </a:cxn>
                  <a:cxn ang="0">
                    <a:pos x="42" y="100"/>
                  </a:cxn>
                  <a:cxn ang="0">
                    <a:pos x="30" y="88"/>
                  </a:cxn>
                  <a:cxn ang="0">
                    <a:pos x="0" y="88"/>
                  </a:cxn>
                  <a:cxn ang="0">
                    <a:pos x="0" y="78"/>
                  </a:cxn>
                  <a:cxn ang="0">
                    <a:pos x="9" y="78"/>
                  </a:cxn>
                </a:cxnLst>
                <a:rect l="0" t="0" r="r" b="b"/>
                <a:pathLst>
                  <a:path w="162" h="100">
                    <a:moveTo>
                      <a:pt x="9" y="78"/>
                    </a:moveTo>
                    <a:lnTo>
                      <a:pt x="30" y="78"/>
                    </a:lnTo>
                    <a:lnTo>
                      <a:pt x="54" y="64"/>
                    </a:lnTo>
                    <a:lnTo>
                      <a:pt x="21" y="38"/>
                    </a:lnTo>
                    <a:lnTo>
                      <a:pt x="21" y="53"/>
                    </a:lnTo>
                    <a:lnTo>
                      <a:pt x="0" y="38"/>
                    </a:lnTo>
                    <a:lnTo>
                      <a:pt x="9" y="24"/>
                    </a:lnTo>
                    <a:lnTo>
                      <a:pt x="9" y="10"/>
                    </a:lnTo>
                    <a:lnTo>
                      <a:pt x="21" y="10"/>
                    </a:lnTo>
                    <a:lnTo>
                      <a:pt x="42" y="24"/>
                    </a:lnTo>
                    <a:lnTo>
                      <a:pt x="54" y="10"/>
                    </a:lnTo>
                    <a:lnTo>
                      <a:pt x="54" y="0"/>
                    </a:lnTo>
                    <a:lnTo>
                      <a:pt x="76" y="10"/>
                    </a:lnTo>
                    <a:lnTo>
                      <a:pt x="140" y="10"/>
                    </a:lnTo>
                    <a:lnTo>
                      <a:pt x="162" y="24"/>
                    </a:lnTo>
                    <a:lnTo>
                      <a:pt x="162" y="38"/>
                    </a:lnTo>
                    <a:lnTo>
                      <a:pt x="140" y="53"/>
                    </a:lnTo>
                    <a:lnTo>
                      <a:pt x="118" y="53"/>
                    </a:lnTo>
                    <a:lnTo>
                      <a:pt x="118" y="64"/>
                    </a:lnTo>
                    <a:lnTo>
                      <a:pt x="85" y="64"/>
                    </a:lnTo>
                    <a:lnTo>
                      <a:pt x="76" y="78"/>
                    </a:lnTo>
                    <a:lnTo>
                      <a:pt x="76" y="88"/>
                    </a:lnTo>
                    <a:lnTo>
                      <a:pt x="42" y="100"/>
                    </a:lnTo>
                    <a:lnTo>
                      <a:pt x="30" y="88"/>
                    </a:lnTo>
                    <a:lnTo>
                      <a:pt x="0" y="88"/>
                    </a:lnTo>
                    <a:lnTo>
                      <a:pt x="0" y="78"/>
                    </a:lnTo>
                    <a:lnTo>
                      <a:pt x="9" y="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472" name="Group 471">
            <a:extLst>
              <a:ext uri="{FF2B5EF4-FFF2-40B4-BE49-F238E27FC236}">
                <a16:creationId xmlns:a16="http://schemas.microsoft.com/office/drawing/2014/main" id="{02BCDB61-55E6-4071-9D0E-1129B8554D9D}"/>
              </a:ext>
            </a:extLst>
          </p:cNvPr>
          <p:cNvGrpSpPr/>
          <p:nvPr userDrawn="1"/>
        </p:nvGrpSpPr>
        <p:grpSpPr>
          <a:xfrm rot="4682205">
            <a:off x="357174" y="-720592"/>
            <a:ext cx="1033676" cy="1629683"/>
            <a:chOff x="35275" y="-29198"/>
            <a:chExt cx="915794" cy="1443831"/>
          </a:xfrm>
        </p:grpSpPr>
        <p:sp>
          <p:nvSpPr>
            <p:cNvPr id="473" name="Freeform 70">
              <a:extLst>
                <a:ext uri="{FF2B5EF4-FFF2-40B4-BE49-F238E27FC236}">
                  <a16:creationId xmlns:a16="http://schemas.microsoft.com/office/drawing/2014/main" id="{687AADC5-96F0-4BE1-B655-8EF2EF450673}"/>
                </a:ext>
              </a:extLst>
            </p:cNvPr>
            <p:cNvSpPr/>
            <p:nvPr/>
          </p:nvSpPr>
          <p:spPr>
            <a:xfrm>
              <a:off x="713102" y="425470"/>
              <a:ext cx="237967" cy="311944"/>
            </a:xfrm>
            <a:custGeom>
              <a:avLst/>
              <a:gdLst>
                <a:gd name="connsiteX0" fmla="*/ 0 w 226219"/>
                <a:gd name="connsiteY0" fmla="*/ 0 h 321468"/>
                <a:gd name="connsiteX1" fmla="*/ 226219 w 226219"/>
                <a:gd name="connsiteY1" fmla="*/ 0 h 321468"/>
                <a:gd name="connsiteX2" fmla="*/ 97631 w 226219"/>
                <a:gd name="connsiteY2" fmla="*/ 321468 h 321468"/>
                <a:gd name="connsiteX3" fmla="*/ 0 w 226219"/>
                <a:gd name="connsiteY3" fmla="*/ 0 h 321468"/>
                <a:gd name="connsiteX0" fmla="*/ 0 w 226219"/>
                <a:gd name="connsiteY0" fmla="*/ 0 h 309650"/>
                <a:gd name="connsiteX1" fmla="*/ 226219 w 226219"/>
                <a:gd name="connsiteY1" fmla="*/ 0 h 309650"/>
                <a:gd name="connsiteX2" fmla="*/ 110938 w 226219"/>
                <a:gd name="connsiteY2" fmla="*/ 309650 h 309650"/>
                <a:gd name="connsiteX3" fmla="*/ 0 w 226219"/>
                <a:gd name="connsiteY3" fmla="*/ 0 h 309650"/>
                <a:gd name="connsiteX0" fmla="*/ 0 w 230985"/>
                <a:gd name="connsiteY0" fmla="*/ 2363 h 309650"/>
                <a:gd name="connsiteX1" fmla="*/ 230985 w 230985"/>
                <a:gd name="connsiteY1" fmla="*/ 0 h 309650"/>
                <a:gd name="connsiteX2" fmla="*/ 115704 w 230985"/>
                <a:gd name="connsiteY2" fmla="*/ 309650 h 309650"/>
                <a:gd name="connsiteX3" fmla="*/ 0 w 230985"/>
                <a:gd name="connsiteY3" fmla="*/ 2363 h 309650"/>
                <a:gd name="connsiteX0" fmla="*/ 0 w 238133"/>
                <a:gd name="connsiteY0" fmla="*/ 2363 h 309650"/>
                <a:gd name="connsiteX1" fmla="*/ 238133 w 238133"/>
                <a:gd name="connsiteY1" fmla="*/ 0 h 309650"/>
                <a:gd name="connsiteX2" fmla="*/ 122852 w 238133"/>
                <a:gd name="connsiteY2" fmla="*/ 309650 h 309650"/>
                <a:gd name="connsiteX3" fmla="*/ 0 w 238133"/>
                <a:gd name="connsiteY3" fmla="*/ 2363 h 3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133" h="309650">
                  <a:moveTo>
                    <a:pt x="0" y="2363"/>
                  </a:moveTo>
                  <a:lnTo>
                    <a:pt x="238133" y="0"/>
                  </a:lnTo>
                  <a:lnTo>
                    <a:pt x="122852" y="309650"/>
                  </a:lnTo>
                  <a:lnTo>
                    <a:pt x="0" y="2363"/>
                  </a:lnTo>
                  <a:close/>
                </a:path>
              </a:pathLst>
            </a:custGeom>
            <a:solidFill>
              <a:srgbClr val="FFCC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4" name="Freeform 71">
              <a:extLst>
                <a:ext uri="{FF2B5EF4-FFF2-40B4-BE49-F238E27FC236}">
                  <a16:creationId xmlns:a16="http://schemas.microsoft.com/office/drawing/2014/main" id="{9180DDD5-1FEF-4F03-BBEB-551F8C834A7D}"/>
                </a:ext>
              </a:extLst>
            </p:cNvPr>
            <p:cNvSpPr/>
            <p:nvPr/>
          </p:nvSpPr>
          <p:spPr>
            <a:xfrm>
              <a:off x="35275" y="-29198"/>
              <a:ext cx="803275" cy="1443831"/>
            </a:xfrm>
            <a:custGeom>
              <a:avLst/>
              <a:gdLst>
                <a:gd name="connsiteX0" fmla="*/ 0 w 787400"/>
                <a:gd name="connsiteY0" fmla="*/ 0 h 1447800"/>
                <a:gd name="connsiteX1" fmla="*/ 501650 w 787400"/>
                <a:gd name="connsiteY1" fmla="*/ 12700 h 1447800"/>
                <a:gd name="connsiteX2" fmla="*/ 787400 w 787400"/>
                <a:gd name="connsiteY2" fmla="*/ 768350 h 1447800"/>
                <a:gd name="connsiteX3" fmla="*/ 533400 w 787400"/>
                <a:gd name="connsiteY3" fmla="*/ 1447800 h 1447800"/>
                <a:gd name="connsiteX4" fmla="*/ 0 w 787400"/>
                <a:gd name="connsiteY4" fmla="*/ 0 h 144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7400" h="1447800">
                  <a:moveTo>
                    <a:pt x="0" y="0"/>
                  </a:moveTo>
                  <a:lnTo>
                    <a:pt x="501650" y="12700"/>
                  </a:lnTo>
                  <a:lnTo>
                    <a:pt x="787400" y="768350"/>
                  </a:lnTo>
                  <a:lnTo>
                    <a:pt x="533400" y="1447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6E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5" name="Freeform 72">
            <a:extLst>
              <a:ext uri="{FF2B5EF4-FFF2-40B4-BE49-F238E27FC236}">
                <a16:creationId xmlns:a16="http://schemas.microsoft.com/office/drawing/2014/main" id="{B7541FF6-F179-425D-ABF1-65BF1AD12706}"/>
              </a:ext>
            </a:extLst>
          </p:cNvPr>
          <p:cNvSpPr/>
          <p:nvPr userDrawn="1"/>
        </p:nvSpPr>
        <p:spPr>
          <a:xfrm>
            <a:off x="11542716" y="6349269"/>
            <a:ext cx="882829" cy="688764"/>
          </a:xfrm>
          <a:custGeom>
            <a:avLst/>
            <a:gdLst>
              <a:gd name="connsiteX0" fmla="*/ 441960 w 640080"/>
              <a:gd name="connsiteY0" fmla="*/ 1478280 h 1478280"/>
              <a:gd name="connsiteX1" fmla="*/ 205740 w 640080"/>
              <a:gd name="connsiteY1" fmla="*/ 1463040 h 1478280"/>
              <a:gd name="connsiteX2" fmla="*/ 0 w 640080"/>
              <a:gd name="connsiteY2" fmla="*/ 845820 h 1478280"/>
              <a:gd name="connsiteX3" fmla="*/ 327660 w 640080"/>
              <a:gd name="connsiteY3" fmla="*/ 0 h 1478280"/>
              <a:gd name="connsiteX4" fmla="*/ 640080 w 640080"/>
              <a:gd name="connsiteY4" fmla="*/ 883920 h 1478280"/>
              <a:gd name="connsiteX5" fmla="*/ 441960 w 640080"/>
              <a:gd name="connsiteY5" fmla="*/ 1478280 h 1478280"/>
              <a:gd name="connsiteX0" fmla="*/ 439579 w 637699"/>
              <a:gd name="connsiteY0" fmla="*/ 1478280 h 1478280"/>
              <a:gd name="connsiteX1" fmla="*/ 203359 w 637699"/>
              <a:gd name="connsiteY1" fmla="*/ 1463040 h 1478280"/>
              <a:gd name="connsiteX2" fmla="*/ 0 w 637699"/>
              <a:gd name="connsiteY2" fmla="*/ 893445 h 1478280"/>
              <a:gd name="connsiteX3" fmla="*/ 325279 w 637699"/>
              <a:gd name="connsiteY3" fmla="*/ 0 h 1478280"/>
              <a:gd name="connsiteX4" fmla="*/ 637699 w 637699"/>
              <a:gd name="connsiteY4" fmla="*/ 883920 h 1478280"/>
              <a:gd name="connsiteX5" fmla="*/ 439579 w 637699"/>
              <a:gd name="connsiteY5" fmla="*/ 1478280 h 1478280"/>
              <a:gd name="connsiteX0" fmla="*/ 439579 w 637699"/>
              <a:gd name="connsiteY0" fmla="*/ 1465580 h 1465580"/>
              <a:gd name="connsiteX1" fmla="*/ 203359 w 637699"/>
              <a:gd name="connsiteY1" fmla="*/ 1463040 h 1465580"/>
              <a:gd name="connsiteX2" fmla="*/ 0 w 637699"/>
              <a:gd name="connsiteY2" fmla="*/ 893445 h 1465580"/>
              <a:gd name="connsiteX3" fmla="*/ 325279 w 637699"/>
              <a:gd name="connsiteY3" fmla="*/ 0 h 1465580"/>
              <a:gd name="connsiteX4" fmla="*/ 637699 w 637699"/>
              <a:gd name="connsiteY4" fmla="*/ 883920 h 1465580"/>
              <a:gd name="connsiteX5" fmla="*/ 439579 w 637699"/>
              <a:gd name="connsiteY5" fmla="*/ 1465580 h 1465580"/>
              <a:gd name="connsiteX0" fmla="*/ 439579 w 672624"/>
              <a:gd name="connsiteY0" fmla="*/ 1465580 h 1465580"/>
              <a:gd name="connsiteX1" fmla="*/ 203359 w 672624"/>
              <a:gd name="connsiteY1" fmla="*/ 1463040 h 1465580"/>
              <a:gd name="connsiteX2" fmla="*/ 0 w 672624"/>
              <a:gd name="connsiteY2" fmla="*/ 893445 h 1465580"/>
              <a:gd name="connsiteX3" fmla="*/ 325279 w 672624"/>
              <a:gd name="connsiteY3" fmla="*/ 0 h 1465580"/>
              <a:gd name="connsiteX4" fmla="*/ 672624 w 672624"/>
              <a:gd name="connsiteY4" fmla="*/ 922737 h 1465580"/>
              <a:gd name="connsiteX5" fmla="*/ 439579 w 672624"/>
              <a:gd name="connsiteY5" fmla="*/ 1465580 h 1465580"/>
              <a:gd name="connsiteX0" fmla="*/ 290354 w 523399"/>
              <a:gd name="connsiteY0" fmla="*/ 1465580 h 1465580"/>
              <a:gd name="connsiteX1" fmla="*/ 54134 w 523399"/>
              <a:gd name="connsiteY1" fmla="*/ 1463040 h 1465580"/>
              <a:gd name="connsiteX2" fmla="*/ 0 w 523399"/>
              <a:gd name="connsiteY2" fmla="*/ 964610 h 1465580"/>
              <a:gd name="connsiteX3" fmla="*/ 176054 w 523399"/>
              <a:gd name="connsiteY3" fmla="*/ 0 h 1465580"/>
              <a:gd name="connsiteX4" fmla="*/ 523399 w 523399"/>
              <a:gd name="connsiteY4" fmla="*/ 922737 h 1465580"/>
              <a:gd name="connsiteX5" fmla="*/ 290354 w 523399"/>
              <a:gd name="connsiteY5" fmla="*/ 1465580 h 1465580"/>
              <a:gd name="connsiteX0" fmla="*/ 357029 w 590074"/>
              <a:gd name="connsiteY0" fmla="*/ 1465580 h 1465580"/>
              <a:gd name="connsiteX1" fmla="*/ 120809 w 590074"/>
              <a:gd name="connsiteY1" fmla="*/ 1463040 h 1465580"/>
              <a:gd name="connsiteX2" fmla="*/ 0 w 590074"/>
              <a:gd name="connsiteY2" fmla="*/ 663778 h 1465580"/>
              <a:gd name="connsiteX3" fmla="*/ 242729 w 590074"/>
              <a:gd name="connsiteY3" fmla="*/ 0 h 1465580"/>
              <a:gd name="connsiteX4" fmla="*/ 590074 w 590074"/>
              <a:gd name="connsiteY4" fmla="*/ 922737 h 1465580"/>
              <a:gd name="connsiteX5" fmla="*/ 357029 w 590074"/>
              <a:gd name="connsiteY5" fmla="*/ 1465580 h 1465580"/>
              <a:gd name="connsiteX0" fmla="*/ 357029 w 590074"/>
              <a:gd name="connsiteY0" fmla="*/ 1465580 h 1465580"/>
              <a:gd name="connsiteX1" fmla="*/ 114459 w 590074"/>
              <a:gd name="connsiteY1" fmla="*/ 939011 h 1465580"/>
              <a:gd name="connsiteX2" fmla="*/ 0 w 590074"/>
              <a:gd name="connsiteY2" fmla="*/ 663778 h 1465580"/>
              <a:gd name="connsiteX3" fmla="*/ 242729 w 590074"/>
              <a:gd name="connsiteY3" fmla="*/ 0 h 1465580"/>
              <a:gd name="connsiteX4" fmla="*/ 590074 w 590074"/>
              <a:gd name="connsiteY4" fmla="*/ 922737 h 1465580"/>
              <a:gd name="connsiteX5" fmla="*/ 357029 w 590074"/>
              <a:gd name="connsiteY5" fmla="*/ 1465580 h 1465580"/>
              <a:gd name="connsiteX0" fmla="*/ 576104 w 590074"/>
              <a:gd name="connsiteY0" fmla="*/ 928612 h 939011"/>
              <a:gd name="connsiteX1" fmla="*/ 114459 w 590074"/>
              <a:gd name="connsiteY1" fmla="*/ 939011 h 939011"/>
              <a:gd name="connsiteX2" fmla="*/ 0 w 590074"/>
              <a:gd name="connsiteY2" fmla="*/ 663778 h 939011"/>
              <a:gd name="connsiteX3" fmla="*/ 242729 w 590074"/>
              <a:gd name="connsiteY3" fmla="*/ 0 h 939011"/>
              <a:gd name="connsiteX4" fmla="*/ 590074 w 590074"/>
              <a:gd name="connsiteY4" fmla="*/ 922737 h 939011"/>
              <a:gd name="connsiteX5" fmla="*/ 576104 w 590074"/>
              <a:gd name="connsiteY5" fmla="*/ 928612 h 939011"/>
              <a:gd name="connsiteX0" fmla="*/ 576104 w 590074"/>
              <a:gd name="connsiteY0" fmla="*/ 928612 h 945480"/>
              <a:gd name="connsiteX1" fmla="*/ 76359 w 590074"/>
              <a:gd name="connsiteY1" fmla="*/ 945480 h 945480"/>
              <a:gd name="connsiteX2" fmla="*/ 0 w 590074"/>
              <a:gd name="connsiteY2" fmla="*/ 663778 h 945480"/>
              <a:gd name="connsiteX3" fmla="*/ 242729 w 590074"/>
              <a:gd name="connsiteY3" fmla="*/ 0 h 945480"/>
              <a:gd name="connsiteX4" fmla="*/ 590074 w 590074"/>
              <a:gd name="connsiteY4" fmla="*/ 922737 h 945480"/>
              <a:gd name="connsiteX5" fmla="*/ 576104 w 590074"/>
              <a:gd name="connsiteY5" fmla="*/ 928612 h 945480"/>
              <a:gd name="connsiteX0" fmla="*/ 591979 w 605949"/>
              <a:gd name="connsiteY0" fmla="*/ 928612 h 945480"/>
              <a:gd name="connsiteX1" fmla="*/ 92234 w 605949"/>
              <a:gd name="connsiteY1" fmla="*/ 945480 h 945480"/>
              <a:gd name="connsiteX2" fmla="*/ 0 w 605949"/>
              <a:gd name="connsiteY2" fmla="*/ 676717 h 945480"/>
              <a:gd name="connsiteX3" fmla="*/ 258604 w 605949"/>
              <a:gd name="connsiteY3" fmla="*/ 0 h 945480"/>
              <a:gd name="connsiteX4" fmla="*/ 605949 w 605949"/>
              <a:gd name="connsiteY4" fmla="*/ 922737 h 945480"/>
              <a:gd name="connsiteX5" fmla="*/ 591979 w 605949"/>
              <a:gd name="connsiteY5" fmla="*/ 928612 h 945480"/>
              <a:gd name="connsiteX0" fmla="*/ 591979 w 605949"/>
              <a:gd name="connsiteY0" fmla="*/ 928612 h 932541"/>
              <a:gd name="connsiteX1" fmla="*/ 98584 w 605949"/>
              <a:gd name="connsiteY1" fmla="*/ 932541 h 932541"/>
              <a:gd name="connsiteX2" fmla="*/ 0 w 605949"/>
              <a:gd name="connsiteY2" fmla="*/ 676717 h 932541"/>
              <a:gd name="connsiteX3" fmla="*/ 258604 w 605949"/>
              <a:gd name="connsiteY3" fmla="*/ 0 h 932541"/>
              <a:gd name="connsiteX4" fmla="*/ 605949 w 605949"/>
              <a:gd name="connsiteY4" fmla="*/ 922737 h 932541"/>
              <a:gd name="connsiteX5" fmla="*/ 591979 w 605949"/>
              <a:gd name="connsiteY5" fmla="*/ 928612 h 932541"/>
              <a:gd name="connsiteX0" fmla="*/ 591979 w 605949"/>
              <a:gd name="connsiteY0" fmla="*/ 928612 h 929306"/>
              <a:gd name="connsiteX1" fmla="*/ 98584 w 605949"/>
              <a:gd name="connsiteY1" fmla="*/ 929306 h 929306"/>
              <a:gd name="connsiteX2" fmla="*/ 0 w 605949"/>
              <a:gd name="connsiteY2" fmla="*/ 676717 h 929306"/>
              <a:gd name="connsiteX3" fmla="*/ 258604 w 605949"/>
              <a:gd name="connsiteY3" fmla="*/ 0 h 929306"/>
              <a:gd name="connsiteX4" fmla="*/ 605949 w 605949"/>
              <a:gd name="connsiteY4" fmla="*/ 922737 h 929306"/>
              <a:gd name="connsiteX5" fmla="*/ 591979 w 605949"/>
              <a:gd name="connsiteY5" fmla="*/ 928612 h 929306"/>
              <a:gd name="connsiteX0" fmla="*/ 647209 w 661179"/>
              <a:gd name="connsiteY0" fmla="*/ 928612 h 929306"/>
              <a:gd name="connsiteX1" fmla="*/ 153814 w 661179"/>
              <a:gd name="connsiteY1" fmla="*/ 929306 h 929306"/>
              <a:gd name="connsiteX2" fmla="*/ 0 w 661179"/>
              <a:gd name="connsiteY2" fmla="*/ 538054 h 929306"/>
              <a:gd name="connsiteX3" fmla="*/ 313834 w 661179"/>
              <a:gd name="connsiteY3" fmla="*/ 0 h 929306"/>
              <a:gd name="connsiteX4" fmla="*/ 661179 w 661179"/>
              <a:gd name="connsiteY4" fmla="*/ 922737 h 929306"/>
              <a:gd name="connsiteX5" fmla="*/ 647209 w 661179"/>
              <a:gd name="connsiteY5" fmla="*/ 928612 h 929306"/>
              <a:gd name="connsiteX0" fmla="*/ 955796 w 969766"/>
              <a:gd name="connsiteY0" fmla="*/ 928612 h 929306"/>
              <a:gd name="connsiteX1" fmla="*/ 462401 w 969766"/>
              <a:gd name="connsiteY1" fmla="*/ 929306 h 929306"/>
              <a:gd name="connsiteX2" fmla="*/ 0 w 969766"/>
              <a:gd name="connsiteY2" fmla="*/ 601443 h 929306"/>
              <a:gd name="connsiteX3" fmla="*/ 622421 w 969766"/>
              <a:gd name="connsiteY3" fmla="*/ 0 h 929306"/>
              <a:gd name="connsiteX4" fmla="*/ 969766 w 969766"/>
              <a:gd name="connsiteY4" fmla="*/ 922737 h 929306"/>
              <a:gd name="connsiteX5" fmla="*/ 955796 w 969766"/>
              <a:gd name="connsiteY5" fmla="*/ 928612 h 929306"/>
              <a:gd name="connsiteX0" fmla="*/ 869883 w 883853"/>
              <a:gd name="connsiteY0" fmla="*/ 928612 h 929306"/>
              <a:gd name="connsiteX1" fmla="*/ 376488 w 883853"/>
              <a:gd name="connsiteY1" fmla="*/ 929306 h 929306"/>
              <a:gd name="connsiteX2" fmla="*/ 0 w 883853"/>
              <a:gd name="connsiteY2" fmla="*/ 342605 h 929306"/>
              <a:gd name="connsiteX3" fmla="*/ 536508 w 883853"/>
              <a:gd name="connsiteY3" fmla="*/ 0 h 929306"/>
              <a:gd name="connsiteX4" fmla="*/ 883853 w 883853"/>
              <a:gd name="connsiteY4" fmla="*/ 922737 h 929306"/>
              <a:gd name="connsiteX5" fmla="*/ 869883 w 883853"/>
              <a:gd name="connsiteY5" fmla="*/ 928612 h 929306"/>
              <a:gd name="connsiteX0" fmla="*/ 869883 w 883853"/>
              <a:gd name="connsiteY0" fmla="*/ 956345 h 957039"/>
              <a:gd name="connsiteX1" fmla="*/ 376488 w 883853"/>
              <a:gd name="connsiteY1" fmla="*/ 957039 h 957039"/>
              <a:gd name="connsiteX2" fmla="*/ 0 w 883853"/>
              <a:gd name="connsiteY2" fmla="*/ 370338 h 957039"/>
              <a:gd name="connsiteX3" fmla="*/ 561055 w 883853"/>
              <a:gd name="connsiteY3" fmla="*/ 0 h 957039"/>
              <a:gd name="connsiteX4" fmla="*/ 883853 w 883853"/>
              <a:gd name="connsiteY4" fmla="*/ 950470 h 957039"/>
              <a:gd name="connsiteX5" fmla="*/ 869883 w 883853"/>
              <a:gd name="connsiteY5" fmla="*/ 956345 h 957039"/>
              <a:gd name="connsiteX0" fmla="*/ 869883 w 883853"/>
              <a:gd name="connsiteY0" fmla="*/ 956345 h 1197389"/>
              <a:gd name="connsiteX1" fmla="*/ 394898 w 883853"/>
              <a:gd name="connsiteY1" fmla="*/ 1197389 h 1197389"/>
              <a:gd name="connsiteX2" fmla="*/ 0 w 883853"/>
              <a:gd name="connsiteY2" fmla="*/ 370338 h 1197389"/>
              <a:gd name="connsiteX3" fmla="*/ 561055 w 883853"/>
              <a:gd name="connsiteY3" fmla="*/ 0 h 1197389"/>
              <a:gd name="connsiteX4" fmla="*/ 883853 w 883853"/>
              <a:gd name="connsiteY4" fmla="*/ 950470 h 1197389"/>
              <a:gd name="connsiteX5" fmla="*/ 869883 w 883853"/>
              <a:gd name="connsiteY5" fmla="*/ 956345 h 1197389"/>
              <a:gd name="connsiteX0" fmla="*/ 869883 w 883853"/>
              <a:gd name="connsiteY0" fmla="*/ 614309 h 855353"/>
              <a:gd name="connsiteX1" fmla="*/ 394898 w 883853"/>
              <a:gd name="connsiteY1" fmla="*/ 855353 h 855353"/>
              <a:gd name="connsiteX2" fmla="*/ 0 w 883853"/>
              <a:gd name="connsiteY2" fmla="*/ 28302 h 855353"/>
              <a:gd name="connsiteX3" fmla="*/ 757428 w 883853"/>
              <a:gd name="connsiteY3" fmla="*/ 0 h 855353"/>
              <a:gd name="connsiteX4" fmla="*/ 883853 w 883853"/>
              <a:gd name="connsiteY4" fmla="*/ 608434 h 855353"/>
              <a:gd name="connsiteX5" fmla="*/ 869883 w 883853"/>
              <a:gd name="connsiteY5" fmla="*/ 614309 h 855353"/>
              <a:gd name="connsiteX0" fmla="*/ 839200 w 853170"/>
              <a:gd name="connsiteY0" fmla="*/ 761647 h 1002691"/>
              <a:gd name="connsiteX1" fmla="*/ 364215 w 853170"/>
              <a:gd name="connsiteY1" fmla="*/ 1002691 h 1002691"/>
              <a:gd name="connsiteX2" fmla="*/ 0 w 853170"/>
              <a:gd name="connsiteY2" fmla="*/ 0 h 1002691"/>
              <a:gd name="connsiteX3" fmla="*/ 726745 w 853170"/>
              <a:gd name="connsiteY3" fmla="*/ 147338 h 1002691"/>
              <a:gd name="connsiteX4" fmla="*/ 853170 w 853170"/>
              <a:gd name="connsiteY4" fmla="*/ 755772 h 1002691"/>
              <a:gd name="connsiteX5" fmla="*/ 839200 w 853170"/>
              <a:gd name="connsiteY5" fmla="*/ 761647 h 1002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3170" h="1002691">
                <a:moveTo>
                  <a:pt x="839200" y="761647"/>
                </a:moveTo>
                <a:lnTo>
                  <a:pt x="364215" y="1002691"/>
                </a:lnTo>
                <a:lnTo>
                  <a:pt x="0" y="0"/>
                </a:lnTo>
                <a:lnTo>
                  <a:pt x="726745" y="147338"/>
                </a:lnTo>
                <a:lnTo>
                  <a:pt x="853170" y="755772"/>
                </a:lnTo>
                <a:lnTo>
                  <a:pt x="839200" y="761647"/>
                </a:lnTo>
                <a:close/>
              </a:path>
            </a:pathLst>
          </a:custGeom>
          <a:gradFill flip="none" rotWithShape="1">
            <a:gsLst>
              <a:gs pos="0">
                <a:srgbClr val="FFCC00"/>
              </a:gs>
              <a:gs pos="84000">
                <a:srgbClr val="F46E00"/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8" name="TextBox 477">
            <a:extLst>
              <a:ext uri="{FF2B5EF4-FFF2-40B4-BE49-F238E27FC236}">
                <a16:creationId xmlns:a16="http://schemas.microsoft.com/office/drawing/2014/main" id="{815B5B16-ACC1-49DB-8F03-CE2D0CAD7FBA}"/>
              </a:ext>
            </a:extLst>
          </p:cNvPr>
          <p:cNvSpPr txBox="1"/>
          <p:nvPr userDrawn="1"/>
        </p:nvSpPr>
        <p:spPr>
          <a:xfrm>
            <a:off x="4115005" y="6466165"/>
            <a:ext cx="39454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white"/>
                </a:solidFill>
                <a:latin typeface="Calibri Light" panose="020F0302020204030204" pitchFamily="34" charset="0"/>
                <a:ea typeface="ヒラギノ角ゴ Pro W3" pitchFamily="124" charset="-128"/>
                <a:cs typeface="Calibri" panose="020F0502020204030204" pitchFamily="34" charset="0"/>
              </a:rPr>
              <a:t>©Larsen &amp; Toubro Infotech Ltd. Privileged and Confidential</a:t>
            </a:r>
          </a:p>
        </p:txBody>
      </p:sp>
      <p:pic>
        <p:nvPicPr>
          <p:cNvPr id="479" name="Picture 478">
            <a:extLst>
              <a:ext uri="{FF2B5EF4-FFF2-40B4-BE49-F238E27FC236}">
                <a16:creationId xmlns:a16="http://schemas.microsoft.com/office/drawing/2014/main" id="{42E96397-FA7D-4286-9170-EDF62FC31C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848" y="6338604"/>
            <a:ext cx="515995" cy="408589"/>
          </a:xfrm>
          <a:prstGeom prst="rect">
            <a:avLst/>
          </a:prstGeom>
        </p:spPr>
      </p:pic>
      <p:sp>
        <p:nvSpPr>
          <p:cNvPr id="480" name="Rectangle 479">
            <a:extLst>
              <a:ext uri="{FF2B5EF4-FFF2-40B4-BE49-F238E27FC236}">
                <a16:creationId xmlns:a16="http://schemas.microsoft.com/office/drawing/2014/main" id="{12685A01-FBE5-410F-B50C-65C63F7A3C44}"/>
              </a:ext>
            </a:extLst>
          </p:cNvPr>
          <p:cNvSpPr/>
          <p:nvPr userDrawn="1"/>
        </p:nvSpPr>
        <p:spPr>
          <a:xfrm>
            <a:off x="11737485" y="6432157"/>
            <a:ext cx="5232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rPr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charset="0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97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351162-F8B1-C449-C84E-A261BBA76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6EDED4-6081-A70A-7945-3940AEDD8EC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4488" y="1268412"/>
            <a:ext cx="11512550" cy="51133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80805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0D28E5-6A43-F0E8-E242-E1D7BB19EC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1988840"/>
            <a:ext cx="9144000" cy="2387600"/>
          </a:xfrm>
        </p:spPr>
        <p:txBody>
          <a:bodyPr anchor="b"/>
          <a:lstStyle>
            <a:lvl1pPr algn="l">
              <a:defRPr sz="48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F97273-E6E6-7979-250E-42FFB1324D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3" y="4437112"/>
            <a:ext cx="9144000" cy="1655762"/>
          </a:xfrm>
        </p:spPr>
        <p:txBody>
          <a:bodyPr>
            <a:noAutofit/>
          </a:bodyPr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6F877C-BDBD-EE2D-1151-AB38DB1B04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296652"/>
            <a:ext cx="2323604" cy="660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4448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C6549F-BDCB-24FB-EA3F-3251B4DEA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9545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98209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B5A4-5982-327C-276E-3FF4DE427A46}"/>
              </a:ext>
            </a:extLst>
          </p:cNvPr>
          <p:cNvSpPr/>
          <p:nvPr userDrawn="1"/>
        </p:nvSpPr>
        <p:spPr>
          <a:xfrm>
            <a:off x="334964" y="1259083"/>
            <a:ext cx="1208376" cy="12083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/>
              <a:t>L&amp;T Blu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D5BD095-1A73-343B-F681-938D19910183}"/>
              </a:ext>
            </a:extLst>
          </p:cNvPr>
          <p:cNvSpPr/>
          <p:nvPr userDrawn="1"/>
        </p:nvSpPr>
        <p:spPr>
          <a:xfrm>
            <a:off x="1808241" y="1259083"/>
            <a:ext cx="1208376" cy="1208376"/>
          </a:xfrm>
          <a:prstGeom prst="rect">
            <a:avLst/>
          </a:prstGeom>
          <a:solidFill>
            <a:srgbClr val="FFCC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/>
              <a:t>L&amp;T Yellow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692E3FC-CB01-6536-C45E-7D3057657CF8}"/>
              </a:ext>
            </a:extLst>
          </p:cNvPr>
          <p:cNvSpPr/>
          <p:nvPr userDrawn="1"/>
        </p:nvSpPr>
        <p:spPr>
          <a:xfrm>
            <a:off x="3281518" y="1266284"/>
            <a:ext cx="1208376" cy="12083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/>
              <a:t>L&amp;T Medium Blu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7D7174A-B138-19EF-813D-02903E98C66B}"/>
              </a:ext>
            </a:extLst>
          </p:cNvPr>
          <p:cNvSpPr/>
          <p:nvPr userDrawn="1"/>
        </p:nvSpPr>
        <p:spPr>
          <a:xfrm>
            <a:off x="4754795" y="1266284"/>
            <a:ext cx="1208376" cy="12083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/>
              <a:t>L&amp;T Oran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D2C7F4-8E35-EB59-A7F7-AF4CAFF703C1}"/>
              </a:ext>
            </a:extLst>
          </p:cNvPr>
          <p:cNvSpPr/>
          <p:nvPr userDrawn="1"/>
        </p:nvSpPr>
        <p:spPr>
          <a:xfrm>
            <a:off x="6228072" y="1266284"/>
            <a:ext cx="1208376" cy="12083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/>
              <a:t>L&amp;T Deep Re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6D1F84-9191-4786-5052-6A42FB63CB13}"/>
              </a:ext>
            </a:extLst>
          </p:cNvPr>
          <p:cNvSpPr/>
          <p:nvPr userDrawn="1"/>
        </p:nvSpPr>
        <p:spPr>
          <a:xfrm>
            <a:off x="10647906" y="1266284"/>
            <a:ext cx="1208376" cy="120837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/>
              <a:t>L&amp;T Black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807EF5F-764A-5846-F87E-22C01431EFFB}"/>
              </a:ext>
            </a:extLst>
          </p:cNvPr>
          <p:cNvSpPr/>
          <p:nvPr userDrawn="1"/>
        </p:nvSpPr>
        <p:spPr>
          <a:xfrm>
            <a:off x="7701349" y="1266284"/>
            <a:ext cx="1208376" cy="12083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/>
              <a:t>L&amp;T Environment Gre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D4DC531-B593-EC33-EB81-35364A92BCB4}"/>
              </a:ext>
            </a:extLst>
          </p:cNvPr>
          <p:cNvSpPr/>
          <p:nvPr userDrawn="1"/>
        </p:nvSpPr>
        <p:spPr>
          <a:xfrm>
            <a:off x="9174626" y="1266284"/>
            <a:ext cx="1208376" cy="12083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/>
              <a:t>L&amp;T Health Gree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ADFC816-703B-BB7D-D4F2-3C449C6003AA}"/>
              </a:ext>
            </a:extLst>
          </p:cNvPr>
          <p:cNvSpPr/>
          <p:nvPr userDrawn="1"/>
        </p:nvSpPr>
        <p:spPr>
          <a:xfrm>
            <a:off x="3281518" y="2583241"/>
            <a:ext cx="1208376" cy="858474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DCB5835-44D3-AFF0-BC7F-42E9214C8905}"/>
              </a:ext>
            </a:extLst>
          </p:cNvPr>
          <p:cNvSpPr/>
          <p:nvPr userDrawn="1"/>
        </p:nvSpPr>
        <p:spPr>
          <a:xfrm>
            <a:off x="4754795" y="2583241"/>
            <a:ext cx="1208376" cy="858474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89066C-DC80-D98C-9769-57989170C40A}"/>
              </a:ext>
            </a:extLst>
          </p:cNvPr>
          <p:cNvSpPr/>
          <p:nvPr userDrawn="1"/>
        </p:nvSpPr>
        <p:spPr>
          <a:xfrm>
            <a:off x="6228072" y="2583241"/>
            <a:ext cx="1208376" cy="858474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96B2B7-642C-B819-EBA4-9940E8D013C6}"/>
              </a:ext>
            </a:extLst>
          </p:cNvPr>
          <p:cNvSpPr/>
          <p:nvPr userDrawn="1"/>
        </p:nvSpPr>
        <p:spPr>
          <a:xfrm>
            <a:off x="10647906" y="2583241"/>
            <a:ext cx="1208376" cy="858474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AA8393-1910-214B-D05F-89A5E9A1EAE4}"/>
              </a:ext>
            </a:extLst>
          </p:cNvPr>
          <p:cNvSpPr/>
          <p:nvPr userDrawn="1"/>
        </p:nvSpPr>
        <p:spPr>
          <a:xfrm>
            <a:off x="7701349" y="2583241"/>
            <a:ext cx="1208376" cy="858474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1A1138E-7731-65FB-9336-78A6CF46861C}"/>
              </a:ext>
            </a:extLst>
          </p:cNvPr>
          <p:cNvSpPr/>
          <p:nvPr userDrawn="1"/>
        </p:nvSpPr>
        <p:spPr>
          <a:xfrm>
            <a:off x="9174626" y="2583241"/>
            <a:ext cx="1208376" cy="858474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83BC693-C1E9-BA2E-7F1B-53006595A479}"/>
              </a:ext>
            </a:extLst>
          </p:cNvPr>
          <p:cNvSpPr/>
          <p:nvPr userDrawn="1"/>
        </p:nvSpPr>
        <p:spPr>
          <a:xfrm>
            <a:off x="3281518" y="3550296"/>
            <a:ext cx="1208376" cy="858474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30C13CA-A64A-EB4D-3288-59773AB578F5}"/>
              </a:ext>
            </a:extLst>
          </p:cNvPr>
          <p:cNvSpPr/>
          <p:nvPr userDrawn="1"/>
        </p:nvSpPr>
        <p:spPr>
          <a:xfrm>
            <a:off x="4754795" y="3550296"/>
            <a:ext cx="1208376" cy="858474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3C76CCE-3A33-BE09-5443-E5AAFCD4DC02}"/>
              </a:ext>
            </a:extLst>
          </p:cNvPr>
          <p:cNvSpPr/>
          <p:nvPr userDrawn="1"/>
        </p:nvSpPr>
        <p:spPr>
          <a:xfrm>
            <a:off x="6228072" y="3550296"/>
            <a:ext cx="1208376" cy="858474"/>
          </a:xfrm>
          <a:prstGeom prst="rect">
            <a:avLst/>
          </a:prstGeom>
          <a:solidFill>
            <a:schemeClr val="accent5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4935C48-3A13-2911-0B05-7759DA836E47}"/>
              </a:ext>
            </a:extLst>
          </p:cNvPr>
          <p:cNvSpPr/>
          <p:nvPr userDrawn="1"/>
        </p:nvSpPr>
        <p:spPr>
          <a:xfrm>
            <a:off x="10647906" y="3550296"/>
            <a:ext cx="1208376" cy="858474"/>
          </a:xfrm>
          <a:prstGeom prst="rect">
            <a:avLst/>
          </a:prstGeom>
          <a:solidFill>
            <a:schemeClr val="accent6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95DD11-31FB-A1FE-5A4A-A471E8B8CA8E}"/>
              </a:ext>
            </a:extLst>
          </p:cNvPr>
          <p:cNvSpPr/>
          <p:nvPr userDrawn="1"/>
        </p:nvSpPr>
        <p:spPr>
          <a:xfrm>
            <a:off x="7701349" y="3550296"/>
            <a:ext cx="1208376" cy="85847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E5E7346-A8B2-C66E-C6E2-FE6D71D56537}"/>
              </a:ext>
            </a:extLst>
          </p:cNvPr>
          <p:cNvSpPr/>
          <p:nvPr userDrawn="1"/>
        </p:nvSpPr>
        <p:spPr>
          <a:xfrm>
            <a:off x="9174626" y="3550296"/>
            <a:ext cx="1208376" cy="858474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6915383-A3A0-EDAF-0F5C-AFCF3032C4B6}"/>
              </a:ext>
            </a:extLst>
          </p:cNvPr>
          <p:cNvSpPr/>
          <p:nvPr userDrawn="1"/>
        </p:nvSpPr>
        <p:spPr>
          <a:xfrm>
            <a:off x="3281518" y="4517351"/>
            <a:ext cx="1208376" cy="858474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96C1710-9115-10DC-1168-AC9C1FE3DA5E}"/>
              </a:ext>
            </a:extLst>
          </p:cNvPr>
          <p:cNvSpPr/>
          <p:nvPr userDrawn="1"/>
        </p:nvSpPr>
        <p:spPr>
          <a:xfrm>
            <a:off x="4754795" y="4517351"/>
            <a:ext cx="1208376" cy="858474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024" name="Rectangle 1023">
            <a:extLst>
              <a:ext uri="{FF2B5EF4-FFF2-40B4-BE49-F238E27FC236}">
                <a16:creationId xmlns:a16="http://schemas.microsoft.com/office/drawing/2014/main" id="{A2F11A64-8152-CAD8-C26C-267A446E7C2F}"/>
              </a:ext>
            </a:extLst>
          </p:cNvPr>
          <p:cNvSpPr/>
          <p:nvPr userDrawn="1"/>
        </p:nvSpPr>
        <p:spPr>
          <a:xfrm>
            <a:off x="6228072" y="4517351"/>
            <a:ext cx="1208376" cy="858474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025" name="Rectangle 1024">
            <a:extLst>
              <a:ext uri="{FF2B5EF4-FFF2-40B4-BE49-F238E27FC236}">
                <a16:creationId xmlns:a16="http://schemas.microsoft.com/office/drawing/2014/main" id="{F329B447-FD9E-6A23-35B6-C32E566D93DE}"/>
              </a:ext>
            </a:extLst>
          </p:cNvPr>
          <p:cNvSpPr/>
          <p:nvPr userDrawn="1"/>
        </p:nvSpPr>
        <p:spPr>
          <a:xfrm>
            <a:off x="10647906" y="4517351"/>
            <a:ext cx="1208376" cy="858474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027" name="Rectangle 1026">
            <a:extLst>
              <a:ext uri="{FF2B5EF4-FFF2-40B4-BE49-F238E27FC236}">
                <a16:creationId xmlns:a16="http://schemas.microsoft.com/office/drawing/2014/main" id="{A140D2DA-9C58-FFF8-B492-B8D6093935FA}"/>
              </a:ext>
            </a:extLst>
          </p:cNvPr>
          <p:cNvSpPr/>
          <p:nvPr userDrawn="1"/>
        </p:nvSpPr>
        <p:spPr>
          <a:xfrm>
            <a:off x="7701349" y="4517351"/>
            <a:ext cx="1208376" cy="858474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029" name="Rectangle 1028">
            <a:extLst>
              <a:ext uri="{FF2B5EF4-FFF2-40B4-BE49-F238E27FC236}">
                <a16:creationId xmlns:a16="http://schemas.microsoft.com/office/drawing/2014/main" id="{FE02FCD4-227C-56FB-6B70-4C5721719E0A}"/>
              </a:ext>
            </a:extLst>
          </p:cNvPr>
          <p:cNvSpPr/>
          <p:nvPr userDrawn="1"/>
        </p:nvSpPr>
        <p:spPr>
          <a:xfrm>
            <a:off x="9174626" y="4517351"/>
            <a:ext cx="1208376" cy="858474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030" name="Rectangle 1029">
            <a:extLst>
              <a:ext uri="{FF2B5EF4-FFF2-40B4-BE49-F238E27FC236}">
                <a16:creationId xmlns:a16="http://schemas.microsoft.com/office/drawing/2014/main" id="{6666A1E5-62B9-E335-780F-B30CAD3D52EF}"/>
              </a:ext>
            </a:extLst>
          </p:cNvPr>
          <p:cNvSpPr/>
          <p:nvPr userDrawn="1"/>
        </p:nvSpPr>
        <p:spPr>
          <a:xfrm>
            <a:off x="3281518" y="5483245"/>
            <a:ext cx="1208376" cy="858474"/>
          </a:xfrm>
          <a:prstGeom prst="rect">
            <a:avLst/>
          </a:prstGeom>
          <a:solidFill>
            <a:schemeClr val="bg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031" name="Rectangle 1030">
            <a:extLst>
              <a:ext uri="{FF2B5EF4-FFF2-40B4-BE49-F238E27FC236}">
                <a16:creationId xmlns:a16="http://schemas.microsoft.com/office/drawing/2014/main" id="{89F033F1-8459-0D65-9377-A161DF3BAB1C}"/>
              </a:ext>
            </a:extLst>
          </p:cNvPr>
          <p:cNvSpPr/>
          <p:nvPr userDrawn="1"/>
        </p:nvSpPr>
        <p:spPr>
          <a:xfrm>
            <a:off x="4754795" y="5483245"/>
            <a:ext cx="1208376" cy="858474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032" name="Rectangle 1031">
            <a:extLst>
              <a:ext uri="{FF2B5EF4-FFF2-40B4-BE49-F238E27FC236}">
                <a16:creationId xmlns:a16="http://schemas.microsoft.com/office/drawing/2014/main" id="{262A711E-E0CF-5C29-B7F3-127471769E65}"/>
              </a:ext>
            </a:extLst>
          </p:cNvPr>
          <p:cNvSpPr/>
          <p:nvPr userDrawn="1"/>
        </p:nvSpPr>
        <p:spPr>
          <a:xfrm>
            <a:off x="6228072" y="5483245"/>
            <a:ext cx="1208376" cy="858474"/>
          </a:xfrm>
          <a:prstGeom prst="rect">
            <a:avLst/>
          </a:prstGeom>
          <a:solidFill>
            <a:schemeClr val="accent5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033" name="Rectangle 1032">
            <a:extLst>
              <a:ext uri="{FF2B5EF4-FFF2-40B4-BE49-F238E27FC236}">
                <a16:creationId xmlns:a16="http://schemas.microsoft.com/office/drawing/2014/main" id="{47A9B5BF-17B1-81CA-4301-1437C8DB5CBC}"/>
              </a:ext>
            </a:extLst>
          </p:cNvPr>
          <p:cNvSpPr/>
          <p:nvPr userDrawn="1"/>
        </p:nvSpPr>
        <p:spPr>
          <a:xfrm>
            <a:off x="10647906" y="5483245"/>
            <a:ext cx="1208376" cy="858474"/>
          </a:xfrm>
          <a:prstGeom prst="rect">
            <a:avLst/>
          </a:prstGeom>
          <a:solidFill>
            <a:schemeClr val="accent6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034" name="Rectangle 1033">
            <a:extLst>
              <a:ext uri="{FF2B5EF4-FFF2-40B4-BE49-F238E27FC236}">
                <a16:creationId xmlns:a16="http://schemas.microsoft.com/office/drawing/2014/main" id="{BF26ADEC-980A-0E6F-9E79-B569C188C034}"/>
              </a:ext>
            </a:extLst>
          </p:cNvPr>
          <p:cNvSpPr/>
          <p:nvPr userDrawn="1"/>
        </p:nvSpPr>
        <p:spPr>
          <a:xfrm>
            <a:off x="7701349" y="5483245"/>
            <a:ext cx="1208376" cy="858474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035" name="Rectangle 1034">
            <a:extLst>
              <a:ext uri="{FF2B5EF4-FFF2-40B4-BE49-F238E27FC236}">
                <a16:creationId xmlns:a16="http://schemas.microsoft.com/office/drawing/2014/main" id="{64EF1595-A9D2-3354-4D6A-E67BC2107611}"/>
              </a:ext>
            </a:extLst>
          </p:cNvPr>
          <p:cNvSpPr/>
          <p:nvPr userDrawn="1"/>
        </p:nvSpPr>
        <p:spPr>
          <a:xfrm>
            <a:off x="9174626" y="5483245"/>
            <a:ext cx="1208376" cy="858474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/>
          </a:p>
        </p:txBody>
      </p:sp>
      <p:sp>
        <p:nvSpPr>
          <p:cNvPr id="1038" name="Rectangle 1037">
            <a:extLst>
              <a:ext uri="{FF2B5EF4-FFF2-40B4-BE49-F238E27FC236}">
                <a16:creationId xmlns:a16="http://schemas.microsoft.com/office/drawing/2014/main" id="{FFC06A5A-17DB-BD38-A678-58C84CA11FBF}"/>
              </a:ext>
            </a:extLst>
          </p:cNvPr>
          <p:cNvSpPr/>
          <p:nvPr userDrawn="1"/>
        </p:nvSpPr>
        <p:spPr>
          <a:xfrm>
            <a:off x="1818633" y="2583241"/>
            <a:ext cx="1208376" cy="858474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accent6"/>
                </a:solidFill>
              </a:rPr>
              <a:t>60%</a:t>
            </a:r>
          </a:p>
        </p:txBody>
      </p:sp>
      <p:sp>
        <p:nvSpPr>
          <p:cNvPr id="1039" name="Rectangle 1038">
            <a:extLst>
              <a:ext uri="{FF2B5EF4-FFF2-40B4-BE49-F238E27FC236}">
                <a16:creationId xmlns:a16="http://schemas.microsoft.com/office/drawing/2014/main" id="{78DCD395-C1EA-A48F-7F0B-8218E8B2F825}"/>
              </a:ext>
            </a:extLst>
          </p:cNvPr>
          <p:cNvSpPr/>
          <p:nvPr userDrawn="1"/>
        </p:nvSpPr>
        <p:spPr>
          <a:xfrm>
            <a:off x="1818633" y="3550296"/>
            <a:ext cx="1208376" cy="858474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accent6"/>
                </a:solidFill>
              </a:rPr>
              <a:t>30%</a:t>
            </a:r>
          </a:p>
        </p:txBody>
      </p:sp>
      <p:sp>
        <p:nvSpPr>
          <p:cNvPr id="1040" name="Rectangle 1039">
            <a:extLst>
              <a:ext uri="{FF2B5EF4-FFF2-40B4-BE49-F238E27FC236}">
                <a16:creationId xmlns:a16="http://schemas.microsoft.com/office/drawing/2014/main" id="{08BC336E-B05B-73AF-1C92-25E7880309B4}"/>
              </a:ext>
            </a:extLst>
          </p:cNvPr>
          <p:cNvSpPr/>
          <p:nvPr userDrawn="1"/>
        </p:nvSpPr>
        <p:spPr>
          <a:xfrm>
            <a:off x="1818633" y="4517351"/>
            <a:ext cx="1208376" cy="858474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accent6"/>
                </a:solidFill>
              </a:rPr>
              <a:t>20%</a:t>
            </a:r>
          </a:p>
        </p:txBody>
      </p:sp>
      <p:sp>
        <p:nvSpPr>
          <p:cNvPr id="1041" name="Rectangle 1040">
            <a:extLst>
              <a:ext uri="{FF2B5EF4-FFF2-40B4-BE49-F238E27FC236}">
                <a16:creationId xmlns:a16="http://schemas.microsoft.com/office/drawing/2014/main" id="{DFB239D0-E220-A6FC-FD5E-34D4C3B6D463}"/>
              </a:ext>
            </a:extLst>
          </p:cNvPr>
          <p:cNvSpPr/>
          <p:nvPr userDrawn="1"/>
        </p:nvSpPr>
        <p:spPr>
          <a:xfrm>
            <a:off x="1818633" y="5483245"/>
            <a:ext cx="1208376" cy="858474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accent6"/>
                </a:solidFill>
              </a:rPr>
              <a:t>10%</a:t>
            </a:r>
          </a:p>
        </p:txBody>
      </p:sp>
      <p:sp>
        <p:nvSpPr>
          <p:cNvPr id="1042" name="Title 1041">
            <a:extLst>
              <a:ext uri="{FF2B5EF4-FFF2-40B4-BE49-F238E27FC236}">
                <a16:creationId xmlns:a16="http://schemas.microsoft.com/office/drawing/2014/main" id="{680C598E-5789-1C9C-9E18-0B5279BEA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lour Palet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2940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D4AFB4-D562-2FD5-BDC2-0ED288963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59798B-370D-E734-70DA-CBD86E2AA0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9D159B-048F-07D9-B279-CFD8F16BE6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CBD0EF-9A8E-0BC1-3981-10AE0392B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EA1F29-B236-413D-A81B-9D3FE3F581AB}" type="datetimeFigureOut">
              <a:rPr lang="en-GB" smtClean="0"/>
              <a:t>26/06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1238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E9730A-F1B2-7BCF-666E-B28E8606C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EB2254-BFF2-DD69-6793-9C0BCEB7D6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9C369-4133-F8AD-F8E5-1D8C3782D6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DD332A-125B-02A4-90B7-89BB0E446E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52D216-71AD-4F44-5B7E-F3EAD662C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91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7B967D-BBB2-043D-9C03-1A88424C77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E74C089-A38A-80AE-845A-04572C12D9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B5474F-73BF-739D-6E89-FEF938F496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1CF037-1E60-58C2-6A5F-A75AC67AC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EA1F29-B236-413D-A81B-9D3FE3F581AB}" type="datetimeFigureOut">
              <a:rPr lang="en-GB" smtClean="0"/>
              <a:t>26/06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57046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B4122A-BC45-906A-4CA6-0D8BA4A6F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BA39C0-562B-3732-BAF9-2A7FB9BD3F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265D05-A1A8-5494-3387-DEE9A3273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EA1F29-B236-413D-A81B-9D3FE3F581AB}" type="datetimeFigureOut">
              <a:rPr lang="en-GB" smtClean="0"/>
              <a:t>26/06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45787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5231878-DD97-DBB2-1033-E1D9466020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C0D2B1-E0CD-2D5C-7DAC-C3DC5D8E72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CFF177-7504-AE41-5D73-9D809A457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EA1F29-B236-413D-A81B-9D3FE3F581AB}" type="datetimeFigureOut">
              <a:rPr lang="en-GB" smtClean="0"/>
              <a:t>26/06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11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351162-F8B1-C449-C84E-A261BBA76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6EDED4-6081-A70A-7945-3940AEDD8EC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4488" y="1268412"/>
            <a:ext cx="5571492" cy="51133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290649B-2999-76BD-FA1E-D938DD7059A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0" y="1268413"/>
            <a:ext cx="5761038" cy="51133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5687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351162-F8B1-C449-C84E-A261BBA76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6EDED4-6081-A70A-7945-3940AEDD8EC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4488" y="1881187"/>
            <a:ext cx="5571492" cy="4500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290649B-2999-76BD-FA1E-D938DD7059A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84912" y="1881188"/>
            <a:ext cx="5572126" cy="4500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27C481B-C22F-D32A-5779-AEE21E8E16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1268413"/>
            <a:ext cx="5572125" cy="504403"/>
          </a:xfrm>
        </p:spPr>
        <p:txBody>
          <a:bodyPr lIns="0"/>
          <a:lstStyle>
            <a:lvl1pPr marL="0" indent="0">
              <a:buFontTx/>
              <a:buNone/>
              <a:defRPr>
                <a:solidFill>
                  <a:srgbClr val="0088C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1290235-2321-855A-9A90-376E773123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4912" y="1268413"/>
            <a:ext cx="5572125" cy="504403"/>
          </a:xfrm>
        </p:spPr>
        <p:txBody>
          <a:bodyPr lIns="0"/>
          <a:lstStyle>
            <a:lvl1pPr marL="0" indent="0">
              <a:buFontTx/>
              <a:buNone/>
              <a:defRPr>
                <a:solidFill>
                  <a:srgbClr val="0088C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6133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11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 1">
    <p:bg>
      <p:bgPr>
        <a:solidFill>
          <a:srgbClr val="004C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rainbow&#10;&#10;Description automatically generated">
            <a:extLst>
              <a:ext uri="{FF2B5EF4-FFF2-40B4-BE49-F238E27FC236}">
                <a16:creationId xmlns:a16="http://schemas.microsoft.com/office/drawing/2014/main" id="{66127A7F-FCE9-6BE4-9194-522E79CCF6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-67235"/>
            <a:ext cx="12192001" cy="639183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C46D24C-A317-139E-99C2-1980411562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6" t="94102" r="85437" b="2035"/>
          <a:stretch/>
        </p:blipFill>
        <p:spPr>
          <a:xfrm>
            <a:off x="334963" y="6500886"/>
            <a:ext cx="1332147" cy="264964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1496366D-C4A8-E924-1AB9-660133160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964" y="2204864"/>
            <a:ext cx="8596352" cy="2473218"/>
          </a:xfrm>
        </p:spPr>
        <p:txBody>
          <a:bodyPr/>
          <a:lstStyle>
            <a:lvl1pPr marL="0" algn="l" defTabSz="914400" rtl="0" eaLnBrk="1" latinLnBrk="0" hangingPunct="1">
              <a:defRPr lang="en-GB" sz="8000" b="1" kern="1200" dirty="0">
                <a:solidFill>
                  <a:schemeClr val="bg1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8466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7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erator 1">
    <p:bg>
      <p:bgPr>
        <a:solidFill>
          <a:srgbClr val="004C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1F0A746-6FF9-3DF5-E113-6D99B9753F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642"/>
          <a:stretch/>
        </p:blipFill>
        <p:spPr>
          <a:xfrm rot="10800000">
            <a:off x="0" y="-13448"/>
            <a:ext cx="12192000" cy="63347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C46D24C-A317-139E-99C2-1980411562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6" t="94102" r="85437" b="2035"/>
          <a:stretch/>
        </p:blipFill>
        <p:spPr>
          <a:xfrm>
            <a:off x="334963" y="6500886"/>
            <a:ext cx="1332147" cy="264964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1496366D-C4A8-E924-1AB9-660133160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964" y="2204864"/>
            <a:ext cx="8596352" cy="2473218"/>
          </a:xfrm>
        </p:spPr>
        <p:txBody>
          <a:bodyPr/>
          <a:lstStyle>
            <a:lvl1pPr marL="0" algn="l" defTabSz="914400" rtl="0" eaLnBrk="1" latinLnBrk="0" hangingPunct="1">
              <a:defRPr lang="en-GB" sz="8000" b="1" kern="1200" dirty="0">
                <a:solidFill>
                  <a:schemeClr val="bg1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2721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7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 2">
    <p:bg>
      <p:bgPr>
        <a:solidFill>
          <a:srgbClr val="004C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B1E2ED-4121-5CA5-1284-7D65144C1B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94" t="14679" b="7642"/>
          <a:stretch/>
        </p:blipFill>
        <p:spPr>
          <a:xfrm rot="10800000">
            <a:off x="-3" y="-10560"/>
            <a:ext cx="12191999" cy="63347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C46D24C-A317-139E-99C2-1980411562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6" t="94102" r="85437" b="2035"/>
          <a:stretch/>
        </p:blipFill>
        <p:spPr>
          <a:xfrm>
            <a:off x="334963" y="6500886"/>
            <a:ext cx="1332147" cy="264964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1496366D-C4A8-E924-1AB9-660133160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964" y="2204864"/>
            <a:ext cx="8596352" cy="2473218"/>
          </a:xfrm>
        </p:spPr>
        <p:txBody>
          <a:bodyPr/>
          <a:lstStyle>
            <a:lvl1pPr marL="0" algn="l" defTabSz="914400" rtl="0" eaLnBrk="1" latinLnBrk="0" hangingPunct="1">
              <a:defRPr lang="en-GB" sz="8000" b="1" kern="1200" dirty="0">
                <a:solidFill>
                  <a:schemeClr val="bg1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1730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7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 3">
    <p:bg>
      <p:bgPr>
        <a:solidFill>
          <a:srgbClr val="004C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AEF0EE-D75A-16A2-349D-8DADA937D4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893"/>
          </a:xfrm>
          <a:prstGeom prst="rect">
            <a:avLst/>
          </a:prstGeom>
        </p:spPr>
      </p:pic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3D486035-3FE5-8331-F916-192F8276A42E}"/>
              </a:ext>
            </a:extLst>
          </p:cNvPr>
          <p:cNvSpPr txBox="1">
            <a:spLocks/>
          </p:cNvSpPr>
          <p:nvPr userDrawn="1"/>
        </p:nvSpPr>
        <p:spPr>
          <a:xfrm>
            <a:off x="5681953" y="6489699"/>
            <a:ext cx="828094" cy="287339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F439014-E629-42E3-A58B-61A0F1C8CFFE}" type="slidenum">
              <a:rPr lang="en-US" sz="1200" b="0" smtClean="0">
                <a:solidFill>
                  <a:schemeClr val="bg1"/>
                </a:solidFill>
                <a:latin typeface="Frutiger 45 Light" pitchFamily="2" charset="0"/>
                <a:cs typeface="Calibri" panose="020F0502020204030204" pitchFamily="34" charset="0"/>
              </a:rPr>
              <a:pPr algn="ctr"/>
              <a:t>‹#›</a:t>
            </a:fld>
            <a:endParaRPr lang="en-US" sz="1200" b="0">
              <a:solidFill>
                <a:schemeClr val="bg1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496366D-C4A8-E924-1AB9-660133160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964" y="2204864"/>
            <a:ext cx="8596352" cy="2473218"/>
          </a:xfrm>
        </p:spPr>
        <p:txBody>
          <a:bodyPr/>
          <a:lstStyle>
            <a:lvl1pPr marL="0" algn="l" defTabSz="914400" rtl="0" eaLnBrk="1" latinLnBrk="0" hangingPunct="1">
              <a:defRPr lang="en-GB" sz="8000" b="1" kern="1200" dirty="0">
                <a:solidFill>
                  <a:srgbClr val="004B86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8910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7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63948A3-32FA-5533-16DA-635E26595B61}"/>
              </a:ext>
            </a:extLst>
          </p:cNvPr>
          <p:cNvSpPr/>
          <p:nvPr userDrawn="1"/>
        </p:nvSpPr>
        <p:spPr>
          <a:xfrm flipV="1">
            <a:off x="3447511" y="1844824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47ABFF-7AC4-BAD1-41A4-E1FE5B8092EF}"/>
              </a:ext>
            </a:extLst>
          </p:cNvPr>
          <p:cNvSpPr/>
          <p:nvPr userDrawn="1"/>
        </p:nvSpPr>
        <p:spPr>
          <a:xfrm flipV="1">
            <a:off x="629101" y="1844824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963FEE-DF85-5D77-1E01-49124A2CEAF5}"/>
              </a:ext>
            </a:extLst>
          </p:cNvPr>
          <p:cNvSpPr/>
          <p:nvPr userDrawn="1"/>
        </p:nvSpPr>
        <p:spPr>
          <a:xfrm flipV="1">
            <a:off x="6265921" y="1844824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653896-D7CD-93EE-8417-E2C2E847A910}"/>
              </a:ext>
            </a:extLst>
          </p:cNvPr>
          <p:cNvSpPr/>
          <p:nvPr userDrawn="1"/>
        </p:nvSpPr>
        <p:spPr>
          <a:xfrm flipV="1">
            <a:off x="9084332" y="1844824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2ACBE6E-5DAE-5B6C-1E92-11C9C66233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457658" y="2241841"/>
            <a:ext cx="809494" cy="80949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7" name="Picture Placeholder 25">
            <a:extLst>
              <a:ext uri="{FF2B5EF4-FFF2-40B4-BE49-F238E27FC236}">
                <a16:creationId xmlns:a16="http://schemas.microsoft.com/office/drawing/2014/main" id="{15DCB66B-4DA5-68F3-EAAE-A7B0A4F3B1D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76068" y="2241841"/>
            <a:ext cx="809494" cy="80949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5">
            <a:extLst>
              <a:ext uri="{FF2B5EF4-FFF2-40B4-BE49-F238E27FC236}">
                <a16:creationId xmlns:a16="http://schemas.microsoft.com/office/drawing/2014/main" id="{416EDE06-9533-67FB-BF24-DF6C76E3E62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094478" y="2241841"/>
            <a:ext cx="809494" cy="80949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5">
            <a:extLst>
              <a:ext uri="{FF2B5EF4-FFF2-40B4-BE49-F238E27FC236}">
                <a16:creationId xmlns:a16="http://schemas.microsoft.com/office/drawing/2014/main" id="{690D0B6E-A10C-4C7A-3858-68AF26206F2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912889" y="2241841"/>
            <a:ext cx="809494" cy="80949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7A05C422-6C2D-D524-06F6-FEBC6355E1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0063" y="4246023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3B1E9743-4863-A723-9C60-5FC5D3DBEA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48473" y="4246023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CD805F55-EF87-C927-683C-402E3B43493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6883" y="4246023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9318E5AB-5357-32EC-1C6F-7497D78CAE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185294" y="4246023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A48394A-EAF3-AA74-A443-B84109539DEE}"/>
              </a:ext>
            </a:extLst>
          </p:cNvPr>
          <p:cNvSpPr/>
          <p:nvPr userDrawn="1"/>
        </p:nvSpPr>
        <p:spPr>
          <a:xfrm>
            <a:off x="1328615" y="3262188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1215128-DC01-82B5-FF95-CD17B9ACB12C}"/>
              </a:ext>
            </a:extLst>
          </p:cNvPr>
          <p:cNvSpPr/>
          <p:nvPr userDrawn="1"/>
        </p:nvSpPr>
        <p:spPr>
          <a:xfrm>
            <a:off x="4147025" y="3262188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E91DFC-E616-7C47-DF0B-7E06270BF99C}"/>
              </a:ext>
            </a:extLst>
          </p:cNvPr>
          <p:cNvSpPr/>
          <p:nvPr userDrawn="1"/>
        </p:nvSpPr>
        <p:spPr>
          <a:xfrm>
            <a:off x="6965435" y="3262188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9A168DF-9E56-0C0D-7485-F28F78F2D2C0}"/>
              </a:ext>
            </a:extLst>
          </p:cNvPr>
          <p:cNvSpPr/>
          <p:nvPr userDrawn="1"/>
        </p:nvSpPr>
        <p:spPr>
          <a:xfrm>
            <a:off x="9783846" y="3262188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FB3665BC-C3D4-CE79-80F3-7F34FA3ECD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0063" y="3576008"/>
            <a:ext cx="2264685" cy="42556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45 bold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E06ACF8C-308D-25A7-590F-09AAE35138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48473" y="3576008"/>
            <a:ext cx="2264685" cy="331936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403A7C49-0A7D-6B23-80B7-E91B87827A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66883" y="3576008"/>
            <a:ext cx="2264685" cy="33027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9F247137-B811-1C0C-3ECF-8920F2723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85294" y="3576008"/>
            <a:ext cx="2264685" cy="33027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E57E6F6-95E1-BB44-5A8A-95D03F02DC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912" y="379659"/>
            <a:ext cx="11527126" cy="564904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600" b="0" kern="1200" dirty="0">
                <a:solidFill>
                  <a:schemeClr val="tx1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3BA9357F-11E9-B623-DB32-AA16F0336D11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034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326EE-4AD2-6131-FE47-3776946E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F580E6-9728-134F-7837-D2E793C227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239196-DEA2-017D-D013-250EAE444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DC706B-277F-824B-34B1-40D11519F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34375C-9DF2-2558-C197-13F2EF7715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2058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BA5E112F-F5E3-1239-9356-9397EE4D0862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A69005D8-0A67-F661-0422-39B24F37BB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914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947A63-CFE8-CA9F-F001-1F56795E58C8}"/>
              </a:ext>
            </a:extLst>
          </p:cNvPr>
          <p:cNvSpPr txBox="1"/>
          <p:nvPr userDrawn="1"/>
        </p:nvSpPr>
        <p:spPr>
          <a:xfrm>
            <a:off x="387463" y="796199"/>
            <a:ext cx="6345306" cy="18024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5000"/>
              </a:lnSpc>
            </a:pPr>
            <a:r>
              <a:rPr lang="en-US" sz="7000" spc="-150">
                <a:solidFill>
                  <a:schemeClr val="tx2"/>
                </a:solidFill>
                <a:effectLst/>
                <a:latin typeface="Source Sans Pro" panose="020B0503030403020204" pitchFamily="34" charset="0"/>
              </a:rPr>
              <a:t>Let’s get to th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E42EB41-E38E-AD39-7A44-A07A0987B1B7}"/>
              </a:ext>
            </a:extLst>
          </p:cNvPr>
          <p:cNvSpPr txBox="1"/>
          <p:nvPr userDrawn="1"/>
        </p:nvSpPr>
        <p:spPr>
          <a:xfrm>
            <a:off x="842241" y="1921181"/>
            <a:ext cx="6345306" cy="1802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0"/>
              </a:lnSpc>
            </a:pPr>
            <a:r>
              <a:rPr lang="en-US" sz="7000" spc="-150">
                <a:solidFill>
                  <a:schemeClr val="tx2"/>
                </a:solidFill>
                <a:effectLst/>
                <a:latin typeface="Source Sans Pro" panose="020B0503030403020204" pitchFamily="34" charset="0"/>
              </a:rPr>
              <a:t>future, faster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45133F-5B58-B32C-5DAA-CC87E085DD48}"/>
              </a:ext>
            </a:extLst>
          </p:cNvPr>
          <p:cNvSpPr txBox="1"/>
          <p:nvPr userDrawn="1"/>
        </p:nvSpPr>
        <p:spPr>
          <a:xfrm>
            <a:off x="838034" y="2973140"/>
            <a:ext cx="4368025" cy="17690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0"/>
              </a:lnSpc>
            </a:pPr>
            <a:r>
              <a:rPr lang="en-US" sz="7000" b="1" spc="-150">
                <a:solidFill>
                  <a:srgbClr val="0192D5"/>
                </a:solidFill>
                <a:effectLst/>
                <a:latin typeface="Source Sans Pro" panose="020B0503030403020204" pitchFamily="34" charset="77"/>
              </a:rPr>
              <a:t>Together.</a:t>
            </a:r>
          </a:p>
        </p:txBody>
      </p:sp>
    </p:spTree>
    <p:extLst>
      <p:ext uri="{BB962C8B-B14F-4D97-AF65-F5344CB8AC3E}">
        <p14:creationId xmlns:p14="http://schemas.microsoft.com/office/powerpoint/2010/main" val="1830686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blur&#10;&#10;Description automatically generated">
            <a:extLst>
              <a:ext uri="{FF2B5EF4-FFF2-40B4-BE49-F238E27FC236}">
                <a16:creationId xmlns:a16="http://schemas.microsoft.com/office/drawing/2014/main" id="{EF438032-1F77-BBEA-C7C7-8ED95C652F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6EEB829-6CD0-4395-A39D-7E253A77EA0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2435" y="2765913"/>
            <a:ext cx="3601189" cy="1326174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44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hank you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A4C7068-0752-FBFE-5D91-4C5EF463A7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82435" y="4233333"/>
            <a:ext cx="4293054" cy="664810"/>
          </a:xfrm>
        </p:spPr>
        <p:txBody>
          <a:bodyPr/>
          <a:lstStyle>
            <a:lvl1pPr marL="0" indent="0">
              <a:buNone/>
              <a:defRPr sz="1600">
                <a:solidFill>
                  <a:srgbClr val="595959"/>
                </a:solidFill>
                <a:latin typeface="Frutiger 45 Light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8C452BF-B975-E66F-DD59-26D7F10461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41" y="6373111"/>
            <a:ext cx="1369134" cy="38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413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0F43329-5876-9F63-88CF-2804CF1255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426"/>
            <a:ext cx="12191999" cy="63118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ECCB17F-F44B-8601-2CD3-ED4B6676FD8F}"/>
              </a:ext>
            </a:extLst>
          </p:cNvPr>
          <p:cNvSpPr txBox="1"/>
          <p:nvPr userDrawn="1"/>
        </p:nvSpPr>
        <p:spPr>
          <a:xfrm>
            <a:off x="418914" y="3720726"/>
            <a:ext cx="4301004" cy="20621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>
                <a:solidFill>
                  <a:schemeClr val="bg1"/>
                </a:solidFill>
                <a:effectLst/>
                <a:latin typeface="Source Sans Pro" panose="020B0503030403020204" pitchFamily="34" charset="0"/>
              </a:rPr>
              <a:t>And with a presence </a:t>
            </a:r>
            <a:br>
              <a:rPr lang="en-US" sz="3200">
                <a:solidFill>
                  <a:schemeClr val="bg1"/>
                </a:solidFill>
                <a:effectLst/>
                <a:latin typeface="Source Sans Pro" panose="020B0503030403020204" pitchFamily="34" charset="0"/>
              </a:rPr>
            </a:br>
            <a:r>
              <a:rPr lang="en-US" sz="3200">
                <a:solidFill>
                  <a:schemeClr val="bg1"/>
                </a:solidFill>
                <a:effectLst/>
                <a:latin typeface="Source Sans Pro" panose="020B0503030403020204" pitchFamily="34" charset="0"/>
              </a:rPr>
              <a:t>in </a:t>
            </a:r>
            <a:r>
              <a:rPr lang="en-US" sz="3200">
                <a:solidFill>
                  <a:srgbClr val="FFCC2A"/>
                </a:solidFill>
                <a:effectLst/>
                <a:latin typeface="Source Sans Pro" panose="020B0503030403020204" pitchFamily="34" charset="0"/>
              </a:rPr>
              <a:t>30+ countries worldwide</a:t>
            </a:r>
            <a:r>
              <a:rPr lang="en-US" sz="3200">
                <a:solidFill>
                  <a:schemeClr val="bg1"/>
                </a:solidFill>
                <a:effectLst/>
                <a:latin typeface="Source Sans Pro" panose="020B0503030403020204" pitchFamily="34" charset="0"/>
              </a:rPr>
              <a:t>, we’re anywhere you need us.</a:t>
            </a:r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C9A95D-9EA8-BC93-2F92-C0F385826446}"/>
              </a:ext>
            </a:extLst>
          </p:cNvPr>
          <p:cNvSpPr txBox="1"/>
          <p:nvPr userDrawn="1"/>
        </p:nvSpPr>
        <p:spPr>
          <a:xfrm>
            <a:off x="4009499" y="6487127"/>
            <a:ext cx="41641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chemeClr val="bg1">
                    <a:lumMod val="65000"/>
                  </a:schemeClr>
                </a:solidFill>
                <a:effectLst/>
                <a:latin typeface="Source Sans Pro" panose="020B0503030403020204" pitchFamily="34" charset="0"/>
              </a:rPr>
              <a:t>©LTIMindtree | Privileged and Confidential 2022</a:t>
            </a:r>
          </a:p>
        </p:txBody>
      </p:sp>
      <p:sp>
        <p:nvSpPr>
          <p:cNvPr id="37" name="Marcador de número de diapositiva 5">
            <a:extLst>
              <a:ext uri="{FF2B5EF4-FFF2-40B4-BE49-F238E27FC236}">
                <a16:creationId xmlns:a16="http://schemas.microsoft.com/office/drawing/2014/main" id="{185F3D54-FE49-EEA0-675C-8CF59FAD1E3D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AC932AF0-5041-1E32-FC03-31A3EAC7DA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41" y="6373111"/>
            <a:ext cx="1369134" cy="38889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E4043AE-A2CC-13F7-8DDE-0501C2355F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2390" y="1593853"/>
            <a:ext cx="165100" cy="3429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86DF3F6-7A02-8AA2-7379-69B8C7A9A9E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8908" y="2033692"/>
            <a:ext cx="165100" cy="3429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ECD3B91-962D-C5AD-CEE9-2E263AA9AC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228" y="2695195"/>
            <a:ext cx="165100" cy="3429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1D716B7-8BED-6638-B535-919A057E99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042" y="3284982"/>
            <a:ext cx="165100" cy="3429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3EAF3E2-3E5F-40AF-BC25-6ECC59D9AB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2859" y="4575389"/>
            <a:ext cx="165100" cy="3429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4F07F9E-1C56-0288-3386-066DD533F1B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1922" y="2146554"/>
            <a:ext cx="165100" cy="3429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EDE95D6-BBA7-1142-4AC4-A3035845314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0748" y="1883664"/>
            <a:ext cx="165100" cy="3429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C34EB3-5650-7E80-D57C-AAA901869A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409" y="991362"/>
            <a:ext cx="165100" cy="3429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60CBE6B-5474-B5F2-3A42-D2288091A41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1533" y="1676401"/>
            <a:ext cx="165100" cy="3429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7846FC-3545-1DE1-42EB-DB5CFD04625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124" y="638558"/>
            <a:ext cx="165100" cy="3429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538068D-77A9-95F7-DD12-30120AEEB02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836" y="1014984"/>
            <a:ext cx="165100" cy="3429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20E0EEA-B1A6-810D-246A-E252EB15456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940" y="1559053"/>
            <a:ext cx="165100" cy="3429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B2B55D6-098E-B6DC-484F-2C7C60B42DA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3907" y="1387603"/>
            <a:ext cx="165100" cy="3429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51C70FB-CEEE-AB0C-5B5D-A09D343CAF0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216" y="1755648"/>
            <a:ext cx="165100" cy="3429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99062F3-6CBA-4136-BA73-2A367BF26CF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9127" y="1379601"/>
            <a:ext cx="165100" cy="3429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1786A08-F97A-474E-B9FE-1908F10E7C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701" y="1661542"/>
            <a:ext cx="165100" cy="3429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06FB05B-EDAB-13BD-16DB-9262D16CD2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9286" y="1888236"/>
            <a:ext cx="165100" cy="3429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DD6F83A-A653-169F-B612-F38098BB0C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098" y="2863216"/>
            <a:ext cx="165100" cy="3429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7F2E927-2FC8-AB9C-4EB3-8919B772B57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674" y="2767967"/>
            <a:ext cx="165100" cy="3429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3DE85AC-5AAF-EFF5-BD9D-0C6B25289B7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030" y="2722247"/>
            <a:ext cx="165100" cy="3429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D996F14-67E8-5B2F-691E-B11166EBBC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2010" y="2802257"/>
            <a:ext cx="165100" cy="3429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D41118C-281A-0716-9991-597D88ACB1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786" y="2351153"/>
            <a:ext cx="165100" cy="3429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7D2BD5C-10BB-3255-88EA-2F2E8481A2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2661" y="2324484"/>
            <a:ext cx="165100" cy="3429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CD4DC4E-D4A0-E322-9EE5-06F0D377ABC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1490" y="3145157"/>
            <a:ext cx="165100" cy="3429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7ED5B36-7136-4C6D-461E-CEF3A96276B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37" y="3718562"/>
            <a:ext cx="165100" cy="3429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0CAA6475-389F-15DF-3CE4-9C3CC8F8F7A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1686" y="3375662"/>
            <a:ext cx="165100" cy="3429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FDDA739-B9E9-1335-DF90-AACA9EE0E27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8468" y="4336062"/>
            <a:ext cx="165100" cy="3429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2DAC0FB-B9EA-F2D9-68A9-9170FB32A9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97002" y="5310125"/>
            <a:ext cx="165100" cy="3429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336D7800-01A3-D863-08E8-BCE47D37727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3030" y="1994113"/>
            <a:ext cx="165100" cy="3429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8A8BD37-4429-A414-A361-7348D2E402E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8666" y="2534455"/>
            <a:ext cx="165100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8228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815C7D-CC90-4232-9BFD-B2B1B29D3D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1163411"/>
            <a:ext cx="10515600" cy="1325563"/>
          </a:xfrm>
        </p:spPr>
        <p:txBody>
          <a:bodyPr>
            <a:normAutofit/>
          </a:bodyPr>
          <a:lstStyle>
            <a:lvl1pPr>
              <a:defRPr lang="en-US" sz="2800" b="1" kern="1200" dirty="0">
                <a:solidFill>
                  <a:srgbClr val="595959"/>
                </a:solidFill>
                <a:latin typeface="Frutiger 45 Light" pitchFamily="2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line goes here</a:t>
            </a:r>
            <a:br>
              <a:rPr lang="en-US"/>
            </a:br>
            <a:r>
              <a:rPr lang="en-US"/>
              <a:t>Headline goes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252767-4743-47D6-B4D1-07FC2385DD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400" y="2815546"/>
            <a:ext cx="10515600" cy="27432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595959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1611A3D-47D0-3647-0CCE-0CB7D32E60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9314451A-6C5B-D5A1-9DD9-55A1359B67FC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89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F21B62-E2BD-DBAE-EB91-DE0D4B6A9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8BA506-014B-A6D2-1DAF-ED58D53D0C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770CB3-8D3C-4CF9-9776-2E27798AA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0D61-3229-4977-BE1B-5BC3C163B7C6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134FAF-06F3-9892-DA0E-FD937B7F3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8C214-9F69-EC57-51A1-F9F3C2FCE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B759C8-8159-4E93-8734-0616BA5E6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6698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66304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6F55F386-4539-4E1F-B26C-1604E19590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2" y="426403"/>
            <a:ext cx="11075988" cy="682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1" kern="1200" dirty="0" smtClean="0">
                <a:solidFill>
                  <a:srgbClr val="0081FF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EAA29E9-9EFC-4C26-A9D2-66F0C94B94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4512" y="1118443"/>
            <a:ext cx="11075988" cy="4238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0" kern="1200" dirty="0" smtClean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ECFAAE-793D-4044-A4DE-45452DB06693}"/>
              </a:ext>
            </a:extLst>
          </p:cNvPr>
          <p:cNvSpPr/>
          <p:nvPr userDrawn="1"/>
        </p:nvSpPr>
        <p:spPr>
          <a:xfrm>
            <a:off x="0" y="6050535"/>
            <a:ext cx="12192000" cy="80746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glow rad="114300">
              <a:srgbClr val="007CFF">
                <a:satMod val="175000"/>
                <a:alpha val="8000"/>
              </a:srgbClr>
            </a:glo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9D37FC2-ABB7-4EB1-B9BE-0D14DD5A7701}"/>
              </a:ext>
            </a:extLst>
          </p:cNvPr>
          <p:cNvSpPr txBox="1"/>
          <p:nvPr userDrawn="1"/>
        </p:nvSpPr>
        <p:spPr>
          <a:xfrm>
            <a:off x="8525290" y="6420710"/>
            <a:ext cx="322175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1000" b="1" spc="50" dirty="0">
                <a:solidFill>
                  <a:srgbClr val="FFFFFF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 </a:t>
            </a:r>
            <a:r>
              <a:rPr lang="en-US" sz="1000" spc="50" dirty="0">
                <a:solidFill>
                  <a:srgbClr val="FFFFFF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2023 LTIMindtree| Privileged &amp; Confidential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7F6D85F-3997-4C98-9677-69E2C3F37E30}"/>
              </a:ext>
            </a:extLst>
          </p:cNvPr>
          <p:cNvSpPr/>
          <p:nvPr userDrawn="1"/>
        </p:nvSpPr>
        <p:spPr>
          <a:xfrm>
            <a:off x="5706026" y="5863570"/>
            <a:ext cx="804021" cy="1128543"/>
          </a:xfrm>
          <a:prstGeom prst="ellipse">
            <a:avLst/>
          </a:prstGeom>
          <a:solidFill>
            <a:srgbClr val="0081FF"/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320B1DD-6964-49B9-A6DC-A371DBF231D0}"/>
              </a:ext>
            </a:extLst>
          </p:cNvPr>
          <p:cNvSpPr/>
          <p:nvPr userDrawn="1"/>
        </p:nvSpPr>
        <p:spPr>
          <a:xfrm>
            <a:off x="5888368" y="6246636"/>
            <a:ext cx="415262" cy="41526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</a:endParaRPr>
          </a:p>
        </p:txBody>
      </p:sp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A33B2426-48A3-4A85-B324-CA1C5CCAD9F4}"/>
              </a:ext>
            </a:extLst>
          </p:cNvPr>
          <p:cNvSpPr txBox="1">
            <a:spLocks/>
          </p:cNvSpPr>
          <p:nvPr userDrawn="1"/>
        </p:nvSpPr>
        <p:spPr>
          <a:xfrm>
            <a:off x="5681953" y="6296908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439014-E629-42E3-A58B-61A0F1C8CF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C1ED969F-37CE-462E-A076-8E8324DF22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15" y="6220096"/>
            <a:ext cx="1276682" cy="443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171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750" fill="hold"/>
                                        <p:tgtEl>
                                          <p:spTgt spid="7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solidFill>
          <a:srgbClr val="F8F8F8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E03DCE-30C9-F426-C00F-B9F460DC72B9}"/>
              </a:ext>
            </a:extLst>
          </p:cNvPr>
          <p:cNvSpPr/>
          <p:nvPr userDrawn="1"/>
        </p:nvSpPr>
        <p:spPr>
          <a:xfrm>
            <a:off x="11818060" y="6546055"/>
            <a:ext cx="373013" cy="31194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C22D51-73B5-F05B-D4A5-8E57C78EC35B}"/>
              </a:ext>
            </a:extLst>
          </p:cNvPr>
          <p:cNvSpPr txBox="1"/>
          <p:nvPr userDrawn="1"/>
        </p:nvSpPr>
        <p:spPr>
          <a:xfrm>
            <a:off x="11818059" y="6596390"/>
            <a:ext cx="373014" cy="2616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050" b="0" i="0" strike="noStrike" spc="0" smtClean="0">
                <a:solidFill>
                  <a:schemeClr val="bg1"/>
                </a:solidFill>
                <a:latin typeface="Calibri" panose="020F0502020204030204" pitchFamily="34" charset="0"/>
                <a:ea typeface="Open Sans Semibold" panose="020B0706030804020204" pitchFamily="34" charset="0"/>
                <a:cs typeface="Calibri" panose="020F0502020204030204" pitchFamily="34" charset="0"/>
              </a:rPr>
              <a:pPr algn="ctr"/>
              <a:t>‹#›</a:t>
            </a:fld>
            <a:endParaRPr lang="id-ID" sz="1200" b="0" i="0" strike="noStrike" spc="0">
              <a:solidFill>
                <a:schemeClr val="bg1"/>
              </a:solidFill>
              <a:latin typeface="Calibri" panose="020F0502020204030204" pitchFamily="34" charset="0"/>
              <a:ea typeface="Open Sans Semibold" panose="020B070603080402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5DCF73F-AAE0-43DE-9487-63B1CA5D3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877" y="171155"/>
            <a:ext cx="11338560" cy="4572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 kumimoji="0" lang="en-US" sz="2400" b="1" i="0" u="none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CCE035-ED7F-8764-42C9-63243EE7DBB7}"/>
              </a:ext>
            </a:extLst>
          </p:cNvPr>
          <p:cNvSpPr txBox="1"/>
          <p:nvPr userDrawn="1"/>
        </p:nvSpPr>
        <p:spPr>
          <a:xfrm>
            <a:off x="3048000" y="6507073"/>
            <a:ext cx="6096000" cy="249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7A0A4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©LTIMindtree | Privileged and Confidential 2023</a:t>
            </a:r>
            <a:endParaRPr kumimoji="0" lang="en-IN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38335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402" y="1497012"/>
            <a:ext cx="11125199" cy="2978005"/>
          </a:xfrm>
        </p:spPr>
        <p:txBody>
          <a:bodyPr numCol="2">
            <a:normAutofit/>
          </a:bodyPr>
          <a:lstStyle>
            <a:lvl1pPr>
              <a:lnSpc>
                <a:spcPts val="1700"/>
              </a:lnSpc>
              <a:defRPr lang="en-US" sz="1400" b="1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2pPr>
            <a:lvl3pPr marL="342874" indent="-342874"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3pPr>
            <a:lvl4pPr marL="568282" indent="-228584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4pPr>
            <a:lvl5pPr marL="914332" indent="-228584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9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4E4B298F-D75D-0E89-ED3D-DF0CF1A87E27}"/>
              </a:ext>
            </a:extLst>
          </p:cNvPr>
          <p:cNvSpPr txBox="1">
            <a:spLocks/>
          </p:cNvSpPr>
          <p:nvPr userDrawn="1"/>
        </p:nvSpPr>
        <p:spPr>
          <a:xfrm>
            <a:off x="11221095" y="6437873"/>
            <a:ext cx="828095" cy="324139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744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9B01B99F-2CE5-433C-8F7A-483D41C4A9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23" name="Marcador de número de diapositiva 5">
            <a:extLst>
              <a:ext uri="{FF2B5EF4-FFF2-40B4-BE49-F238E27FC236}">
                <a16:creationId xmlns:a16="http://schemas.microsoft.com/office/drawing/2014/main" id="{B982187F-CBBE-F09C-0F6F-730E0F0B1244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E5456A7-BE66-D18D-4755-5BE1D37DDEF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400" y="1822450"/>
            <a:ext cx="11125200" cy="4351338"/>
          </a:xfrm>
        </p:spPr>
        <p:txBody>
          <a:bodyPr>
            <a:normAutofit/>
          </a:bodyPr>
          <a:lstStyle>
            <a:lvl1pPr>
              <a:defRPr lang="en-US" sz="12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208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F2FCAF-0450-D661-8243-15DE068EA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8B1854-A506-9D69-FEF2-8A77A43CBE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15F25B-00FC-A976-DE49-DD6471359C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926D01-C12F-C37C-9749-D4BBD6C56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3BC9DF-67E0-F61B-A548-DB2EC8D0C4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7C5765-00F2-7B4E-D4E9-7EE55D19F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9398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rainbow&#10;&#10;Description automatically generated">
            <a:extLst>
              <a:ext uri="{FF2B5EF4-FFF2-40B4-BE49-F238E27FC236}">
                <a16:creationId xmlns:a16="http://schemas.microsoft.com/office/drawing/2014/main" id="{4D5E0A6A-C63F-CD81-C93D-C62562459A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F6931615-3EFD-406D-8CAB-500F498BBC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89891" y="3006522"/>
            <a:ext cx="8937171" cy="1421928"/>
          </a:xfrm>
          <a:noFill/>
        </p:spPr>
        <p:txBody>
          <a:bodyPr wrap="square" rtlCol="0">
            <a:spAutoFit/>
          </a:bodyPr>
          <a:lstStyle>
            <a:lvl1pPr>
              <a:defRPr lang="en-US" sz="4800" b="1" dirty="0">
                <a:solidFill>
                  <a:schemeClr val="bg1"/>
                </a:solidFill>
                <a:latin typeface="Frutiger LT Pro 55 Roman" panose="020B0602020204020204" pitchFamily="34" charset="77"/>
                <a:ea typeface="Frutiger LT Pro 55 Roman" panose="020B0602020204020204" pitchFamily="34" charset="77"/>
                <a:cs typeface="Calibri" panose="020F0502020204030204" pitchFamily="34" charset="0"/>
              </a:defRPr>
            </a:lvl1pPr>
          </a:lstStyle>
          <a:p>
            <a:pPr marL="0"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51413D66-879B-990C-642E-1E1E0D8F30F0}"/>
              </a:ext>
            </a:extLst>
          </p:cNvPr>
          <p:cNvSpPr txBox="1">
            <a:spLocks/>
          </p:cNvSpPr>
          <p:nvPr userDrawn="1"/>
        </p:nvSpPr>
        <p:spPr>
          <a:xfrm>
            <a:off x="1089891" y="4473456"/>
            <a:ext cx="8937171" cy="43858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bg1"/>
                </a:solidFill>
                <a:latin typeface="Frutiger 45 Light" pitchFamily="2" charset="0"/>
                <a:ea typeface="Frutiger 45 Light" pitchFamily="2" charset="0"/>
                <a:cs typeface="Calibri" panose="020F0502020204030204" pitchFamily="34" charset="0"/>
              </a:defRPr>
            </a:lvl1pPr>
          </a:lstStyle>
          <a:p>
            <a:r>
              <a:rPr lang="en-US" sz="2500">
                <a:latin typeface="Frutiger LT Pro 55 Roman" panose="020B0602020204020204" pitchFamily="34" charset="77"/>
              </a:rPr>
              <a:t>Click to edit Master title sty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5EFC81-BEEE-352B-0244-DD36B67B80C9}"/>
              </a:ext>
            </a:extLst>
          </p:cNvPr>
          <p:cNvSpPr txBox="1">
            <a:spLocks/>
          </p:cNvSpPr>
          <p:nvPr userDrawn="1"/>
        </p:nvSpPr>
        <p:spPr>
          <a:xfrm>
            <a:off x="1089890" y="5263013"/>
            <a:ext cx="8937171" cy="58753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bg1"/>
                </a:solidFill>
                <a:latin typeface="Frutiger 45 Light" pitchFamily="2" charset="0"/>
                <a:ea typeface="Frutiger 45 Light" pitchFamily="2" charset="0"/>
                <a:cs typeface="Calibri" panose="020F0502020204030204" pitchFamily="34" charset="0"/>
              </a:defRPr>
            </a:lvl1pPr>
          </a:lstStyle>
          <a:p>
            <a:pPr>
              <a:lnSpc>
                <a:spcPts val="2000"/>
              </a:lnSpc>
            </a:pPr>
            <a:r>
              <a:rPr lang="en-US" sz="1400" b="1">
                <a:latin typeface="Frutiger LT Pro 55 Roman" panose="020B0602020204020204" pitchFamily="34" charset="77"/>
              </a:rPr>
              <a:t>Presenter Name</a:t>
            </a:r>
          </a:p>
          <a:p>
            <a:pPr>
              <a:lnSpc>
                <a:spcPts val="2000"/>
              </a:lnSpc>
            </a:pPr>
            <a:r>
              <a:rPr lang="en-US" sz="1400" b="0">
                <a:latin typeface="Frutiger LT Pro 55 Roman" panose="020B0602020204020204" pitchFamily="34" charset="77"/>
              </a:rPr>
              <a:t>Month, 20XX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5A4A541-3236-7C7A-108F-C328E38F39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934" y="323988"/>
            <a:ext cx="2323604" cy="66001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3B67306-5A21-C596-5284-2A7C0FD5D2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2595" y="459544"/>
            <a:ext cx="2323600" cy="660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8451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BA5E112F-F5E3-1239-9356-9397EE4D0862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A69005D8-0A67-F661-0422-39B24F37BB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914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947A63-CFE8-CA9F-F001-1F56795E58C8}"/>
              </a:ext>
            </a:extLst>
          </p:cNvPr>
          <p:cNvSpPr txBox="1"/>
          <p:nvPr userDrawn="1"/>
        </p:nvSpPr>
        <p:spPr>
          <a:xfrm>
            <a:off x="387463" y="796199"/>
            <a:ext cx="6345306" cy="18024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5000"/>
              </a:lnSpc>
            </a:pPr>
            <a:r>
              <a:rPr lang="en-US" sz="7000" spc="-15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Let’s get to th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E42EB41-E38E-AD39-7A44-A07A0987B1B7}"/>
              </a:ext>
            </a:extLst>
          </p:cNvPr>
          <p:cNvSpPr txBox="1"/>
          <p:nvPr userDrawn="1"/>
        </p:nvSpPr>
        <p:spPr>
          <a:xfrm>
            <a:off x="842241" y="1921181"/>
            <a:ext cx="6345306" cy="1802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0"/>
              </a:lnSpc>
            </a:pPr>
            <a:r>
              <a:rPr lang="en-US" sz="7000" spc="-15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future, faster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45133F-5B58-B32C-5DAA-CC87E085DD48}"/>
              </a:ext>
            </a:extLst>
          </p:cNvPr>
          <p:cNvSpPr txBox="1"/>
          <p:nvPr userDrawn="1"/>
        </p:nvSpPr>
        <p:spPr>
          <a:xfrm>
            <a:off x="838034" y="2973140"/>
            <a:ext cx="4368025" cy="17690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0"/>
              </a:lnSpc>
            </a:pPr>
            <a:r>
              <a:rPr lang="en-US" sz="7000" b="1" spc="-150">
                <a:solidFill>
                  <a:srgbClr val="0192D5"/>
                </a:solidFill>
                <a:effectLst/>
                <a:latin typeface="Source Sans Pro" panose="020B0503030403020204" pitchFamily="34" charset="77"/>
              </a:rPr>
              <a:t>Together.</a:t>
            </a:r>
          </a:p>
        </p:txBody>
      </p:sp>
    </p:spTree>
    <p:extLst>
      <p:ext uri="{BB962C8B-B14F-4D97-AF65-F5344CB8AC3E}">
        <p14:creationId xmlns:p14="http://schemas.microsoft.com/office/powerpoint/2010/main" val="2051504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595704B-C3B8-361E-ECB4-AAF0D190B3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" r="929" b="11338"/>
          <a:stretch/>
        </p:blipFill>
        <p:spPr>
          <a:xfrm rot="10800000" flipH="1">
            <a:off x="0" y="0"/>
            <a:ext cx="12192000" cy="6857998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1628252-EFFE-45BA-BB6B-80B43271D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0" y="1508588"/>
            <a:ext cx="6337582" cy="2852737"/>
          </a:xfrm>
        </p:spPr>
        <p:txBody>
          <a:bodyPr anchor="b">
            <a:normAutofit/>
          </a:bodyPr>
          <a:lstStyle>
            <a:lvl1pPr>
              <a:defRPr lang="en-US" sz="4400" b="1" kern="1200" dirty="0">
                <a:solidFill>
                  <a:schemeClr val="bg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94D909-A7BC-465C-8A9B-65471E73FB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20640" y="4388313"/>
            <a:ext cx="6337582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48913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</p:spPr>
        <p:txBody>
          <a:bodyPr numCol="1"/>
          <a:lstStyle>
            <a:lvl1pPr>
              <a:lnSpc>
                <a:spcPts val="1700"/>
              </a:lnSpc>
              <a:defRPr lang="en-US" sz="2400" b="1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20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8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E9EC46A4-50CA-5032-642E-472F2C66E949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914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</p:spPr>
        <p:txBody>
          <a:bodyPr numCol="2">
            <a:normAutofit/>
          </a:bodyPr>
          <a:lstStyle>
            <a:lvl1pPr>
              <a:lnSpc>
                <a:spcPts val="1700"/>
              </a:lnSpc>
              <a:defRPr lang="en-US" sz="1400" b="1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4E4B298F-D75D-0E89-ED3D-DF0CF1A87E27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3345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</p:spPr>
        <p:txBody>
          <a:bodyPr numCol="3">
            <a:normAutofit/>
          </a:bodyPr>
          <a:lstStyle>
            <a:lvl1pPr>
              <a:lnSpc>
                <a:spcPts val="1700"/>
              </a:lnSpc>
              <a:defRPr lang="en-US" sz="1400" b="1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4BB16B3F-018F-71E7-B239-96DA6F36DEB4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9943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CF55D43F-875F-4E2B-82B9-5EEDDAEA6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398" y="989299"/>
            <a:ext cx="8610601" cy="2852737"/>
          </a:xfrm>
        </p:spPr>
        <p:txBody>
          <a:bodyPr anchor="b">
            <a:normAutofit/>
          </a:bodyPr>
          <a:lstStyle>
            <a:lvl1pPr>
              <a:defRPr lang="en-US" sz="44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18B4745-7445-43DB-B108-3CDCB28A7A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398" y="3869024"/>
            <a:ext cx="8610602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A424433-CA37-48A1-EF7E-E44DEC8944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8" name="Marcador de número de diapositiva 5">
            <a:extLst>
              <a:ext uri="{FF2B5EF4-FFF2-40B4-BE49-F238E27FC236}">
                <a16:creationId xmlns:a16="http://schemas.microsoft.com/office/drawing/2014/main" id="{179C2830-1743-9FEA-4F66-BCE7925B9DB5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02687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DD9C106-CE49-4F1B-A6DE-3C9818CAFB5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399" y="1655302"/>
            <a:ext cx="5486399" cy="4351338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E8BB916-CDFC-439C-B0EF-513AE7B06AC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172201" y="1655302"/>
            <a:ext cx="5486398" cy="4351338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78651CBE-E342-762C-71AB-7A346C0BD1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CACE2F8E-F80A-F347-8E9C-243A79D7388E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01357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704641-62E4-4217-A4FB-1461DCB349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399" y="1436914"/>
            <a:ext cx="5533119" cy="1068161"/>
          </a:xfr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BF8DFE-7699-41E5-ACEB-81719A7EB9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1141" y="1436914"/>
            <a:ext cx="5417458" cy="1068161"/>
          </a:xfr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54FF91B-5FE4-409D-BA7F-37376CD5E4A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399" y="2651506"/>
            <a:ext cx="5533119" cy="3432302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FDB344D-832A-4E14-93A2-EF0879A2EDA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41141" y="2663457"/>
            <a:ext cx="5417458" cy="3432302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4" name="Marcador de número de diapositiva 5">
            <a:extLst>
              <a:ext uri="{FF2B5EF4-FFF2-40B4-BE49-F238E27FC236}">
                <a16:creationId xmlns:a16="http://schemas.microsoft.com/office/drawing/2014/main" id="{0A8FC8DD-D1CD-B223-1096-CE2AAC973F80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8606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91FB881-30C1-45DC-F30C-3F1DFC4F17F8}"/>
              </a:ext>
            </a:extLst>
          </p:cNvPr>
          <p:cNvSpPr/>
          <p:nvPr userDrawn="1"/>
        </p:nvSpPr>
        <p:spPr>
          <a:xfrm>
            <a:off x="-1" y="0"/>
            <a:ext cx="12192000" cy="6228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3CBCC0C3-A39C-312F-C0F0-B965E11FFDA0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B90635A-C270-48A0-A1B0-C1B896E998A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1663792" y="1712849"/>
            <a:ext cx="8864415" cy="3432302"/>
          </a:xfrm>
        </p:spPr>
        <p:txBody>
          <a:bodyPr/>
          <a:lstStyle>
            <a:lvl1pPr>
              <a:defRPr lang="en-US" sz="2400" b="1" dirty="0" smtClean="0">
                <a:solidFill>
                  <a:schemeClr val="bg1"/>
                </a:solidFill>
                <a:latin typeface="Frutiger LT Pro 55 Roman" panose="020B0602020204020204" pitchFamily="34" charset="77"/>
              </a:defRPr>
            </a:lvl1pPr>
            <a:lvl2pPr marL="114300" indent="-342900">
              <a:buFont typeface="Wingdings" pitchFamily="2" charset="2"/>
              <a:buChar char="§"/>
              <a:defRPr sz="2000">
                <a:solidFill>
                  <a:srgbClr val="595959"/>
                </a:solidFill>
                <a:latin typeface="Frutiger 45 Light" pitchFamily="2" charset="0"/>
              </a:defRPr>
            </a:lvl2pPr>
            <a:lvl3pPr marL="1085850" indent="-285750">
              <a:buFont typeface="Wingdings" pitchFamily="2" charset="2"/>
              <a:buChar char="§"/>
              <a:defRPr sz="1800">
                <a:solidFill>
                  <a:schemeClr val="bg1"/>
                </a:solidFill>
                <a:latin typeface="Frutiger LT Pro 55 Roman" panose="020B0602020204020204" pitchFamily="34" charset="77"/>
              </a:defRPr>
            </a:lvl3pPr>
            <a:lvl4pPr marL="1600200" indent="-285750">
              <a:buFont typeface="Wingdings" pitchFamily="2" charset="2"/>
              <a:buChar char="§"/>
              <a:defRPr sz="1400">
                <a:solidFill>
                  <a:schemeClr val="bg1"/>
                </a:solidFill>
                <a:latin typeface="Frutiger LT Pro 55 Roman" panose="020B0602020204020204" pitchFamily="34" charset="77"/>
              </a:defRPr>
            </a:lvl4pPr>
            <a:lvl5pPr>
              <a:buFont typeface="Wingdings" pitchFamily="2" charset="2"/>
              <a:buChar char="§"/>
              <a:defRPr sz="1400">
                <a:solidFill>
                  <a:schemeClr val="bg1"/>
                </a:solidFill>
                <a:latin typeface="Frutiger 45 Light" pitchFamily="2" charset="0"/>
              </a:defRPr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Click to edit Master text styles</a:t>
            </a:r>
          </a:p>
          <a:p>
            <a:pPr marL="228600" lvl="1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Second level</a:t>
            </a:r>
          </a:p>
          <a:p>
            <a:pPr marL="228600" lvl="2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Third level</a:t>
            </a:r>
          </a:p>
          <a:p>
            <a:pPr marL="228600" lvl="3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Fourth level</a:t>
            </a:r>
          </a:p>
          <a:p>
            <a:pPr marL="228600" lvl="4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Fifth level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BBD03CE7-7A4A-98C2-6D96-49236346EF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chemeClr val="bg1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017996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5B6E5-993C-0F15-2817-96C0A012A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D27346-F220-79A3-4A7C-A043FF0D60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AC535-9D52-1A7E-1AB0-E73D670C90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3699C1-7563-0127-E934-DC8257B139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8498D2-83C2-87A3-3105-389EA4E8FA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8B40DD8-FF00-C9A3-B161-F4F62F62F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447BBA-1A71-66EB-C4E6-CD020A5B35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00A094-AE89-DBFF-5C6A-DEDB73259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022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815C7D-CC90-4232-9BFD-B2B1B29D3D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1163411"/>
            <a:ext cx="10515600" cy="1325563"/>
          </a:xfrm>
        </p:spPr>
        <p:txBody>
          <a:bodyPr>
            <a:normAutofit/>
          </a:bodyPr>
          <a:lstStyle>
            <a:lvl1pPr>
              <a:defRPr lang="en-US" sz="28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line goes here</a:t>
            </a:r>
            <a:br>
              <a:rPr lang="en-US"/>
            </a:br>
            <a:r>
              <a:rPr lang="en-US"/>
              <a:t>Headline goes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252767-4743-47D6-B4D1-07FC2385DD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400" y="2815546"/>
            <a:ext cx="10515600" cy="27432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595959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1611A3D-47D0-3647-0CCE-0CB7D32E60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9314451A-6C5B-D5A1-9DD9-55A1359B67FC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9464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5CDA55D2-453F-4E7D-AF30-1542DF26E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2" y="457200"/>
            <a:ext cx="4293054" cy="1600200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1469E54-C50A-4DB5-B104-9B99883176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972" y="2057400"/>
            <a:ext cx="4293054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E8A5CEA-5F4E-4109-ACB7-808AE0D5B17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306569" y="2055542"/>
            <a:ext cx="5181599" cy="3813445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32BAEA48-FEC5-7F2A-1732-CFFB91C99D61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5345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B7F8B00-12EF-4751-A034-D733BB7D5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2" y="457200"/>
            <a:ext cx="4293054" cy="1600200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5B0E1B6-489C-4643-9FE5-9D4A936A7B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0"/>
            <a:ext cx="7008812" cy="6857999"/>
          </a:xfrm>
        </p:spPr>
        <p:txBody>
          <a:bodyPr/>
          <a:lstStyle>
            <a:lvl1pPr marL="0" indent="0">
              <a:buNone/>
              <a:defRPr sz="32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70DA0CC-8337-43E8-B632-01AC9639E7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972" y="2057400"/>
            <a:ext cx="4293054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Marcador de número de diapositiva 5">
            <a:extLst>
              <a:ext uri="{FF2B5EF4-FFF2-40B4-BE49-F238E27FC236}">
                <a16:creationId xmlns:a16="http://schemas.microsoft.com/office/drawing/2014/main" id="{3D440A3F-6F49-A806-CA5F-776CACB1FDFB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8498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F7878D79-3823-9575-1C88-56C4110E1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BA5E112F-F5E3-1239-9356-9397EE4D0862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556253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63948A3-32FA-5533-16DA-635E26595B61}"/>
              </a:ext>
            </a:extLst>
          </p:cNvPr>
          <p:cNvSpPr/>
          <p:nvPr userDrawn="1"/>
        </p:nvSpPr>
        <p:spPr>
          <a:xfrm flipV="1">
            <a:off x="335168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47ABFF-7AC4-BAD1-41A4-E1FE5B8092EF}"/>
              </a:ext>
            </a:extLst>
          </p:cNvPr>
          <p:cNvSpPr/>
          <p:nvPr userDrawn="1"/>
        </p:nvSpPr>
        <p:spPr>
          <a:xfrm flipV="1">
            <a:off x="53327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963FEE-DF85-5D77-1E01-49124A2CEAF5}"/>
              </a:ext>
            </a:extLst>
          </p:cNvPr>
          <p:cNvSpPr/>
          <p:nvPr userDrawn="1"/>
        </p:nvSpPr>
        <p:spPr>
          <a:xfrm flipV="1">
            <a:off x="617009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653896-D7CD-93EE-8417-E2C2E847A910}"/>
              </a:ext>
            </a:extLst>
          </p:cNvPr>
          <p:cNvSpPr/>
          <p:nvPr userDrawn="1"/>
        </p:nvSpPr>
        <p:spPr>
          <a:xfrm flipV="1">
            <a:off x="8988503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2ACBE6E-5DAE-5B6C-1E92-11C9C66233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36182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7" name="Picture Placeholder 25">
            <a:extLst>
              <a:ext uri="{FF2B5EF4-FFF2-40B4-BE49-F238E27FC236}">
                <a16:creationId xmlns:a16="http://schemas.microsoft.com/office/drawing/2014/main" id="{15DCB66B-4DA5-68F3-EAAE-A7B0A4F3B1D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8023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5">
            <a:extLst>
              <a:ext uri="{FF2B5EF4-FFF2-40B4-BE49-F238E27FC236}">
                <a16:creationId xmlns:a16="http://schemas.microsoft.com/office/drawing/2014/main" id="{416EDE06-9533-67FB-BF24-DF6C76E3E62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9864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5">
            <a:extLst>
              <a:ext uri="{FF2B5EF4-FFF2-40B4-BE49-F238E27FC236}">
                <a16:creationId xmlns:a16="http://schemas.microsoft.com/office/drawing/2014/main" id="{690D0B6E-A10C-4C7A-3858-68AF26206F2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17060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7A05C422-6C2D-D524-06F6-FEBC6355E1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4234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3B1E9743-4863-A723-9C60-5FC5D3DBEA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52644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CD805F55-EF87-C927-683C-402E3B43493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1054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9318E5AB-5357-32EC-1C6F-7497D78CAE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9465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A48394A-EAF3-AA74-A443-B84109539DEE}"/>
              </a:ext>
            </a:extLst>
          </p:cNvPr>
          <p:cNvSpPr/>
          <p:nvPr userDrawn="1"/>
        </p:nvSpPr>
        <p:spPr>
          <a:xfrm>
            <a:off x="123278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1215128-DC01-82B5-FF95-CD17B9ACB12C}"/>
              </a:ext>
            </a:extLst>
          </p:cNvPr>
          <p:cNvSpPr/>
          <p:nvPr userDrawn="1"/>
        </p:nvSpPr>
        <p:spPr>
          <a:xfrm>
            <a:off x="405119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E91DFC-E616-7C47-DF0B-7E06270BF99C}"/>
              </a:ext>
            </a:extLst>
          </p:cNvPr>
          <p:cNvSpPr/>
          <p:nvPr userDrawn="1"/>
        </p:nvSpPr>
        <p:spPr>
          <a:xfrm>
            <a:off x="686960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9A168DF-9E56-0C0D-7485-F28F78F2D2C0}"/>
              </a:ext>
            </a:extLst>
          </p:cNvPr>
          <p:cNvSpPr/>
          <p:nvPr userDrawn="1"/>
        </p:nvSpPr>
        <p:spPr>
          <a:xfrm>
            <a:off x="9688017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FB3665BC-C3D4-CE79-80F3-7F34FA3ECD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234" y="3298206"/>
            <a:ext cx="2264685" cy="42556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E06ACF8C-308D-25A7-590F-09AAE35138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644" y="3298206"/>
            <a:ext cx="2264685" cy="331936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403A7C49-0A7D-6B23-80B7-E91B87827A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1054" y="3298206"/>
            <a:ext cx="2264685" cy="33027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9F247137-B811-1C0C-3ECF-8920F2723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89465" y="3298206"/>
            <a:ext cx="2264685" cy="33027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E57E6F6-95E1-BB44-5A8A-95D03F02DC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3BA9357F-11E9-B623-DB32-AA16F0336D11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221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rainbow&#10;&#10;Description automatically generated">
            <a:extLst>
              <a:ext uri="{FF2B5EF4-FFF2-40B4-BE49-F238E27FC236}">
                <a16:creationId xmlns:a16="http://schemas.microsoft.com/office/drawing/2014/main" id="{834822A9-DF3C-76DA-0F7D-428C964456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-67236"/>
            <a:ext cx="12192001" cy="692523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6EEB829-6CD0-4395-A39D-7E253A77EA0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2435" y="2765913"/>
            <a:ext cx="3601189" cy="1326174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4400" b="1" kern="1200" dirty="0">
                <a:solidFill>
                  <a:schemeClr val="bg1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hank you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A4C7068-0752-FBFE-5D91-4C5EF463A7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82435" y="4233333"/>
            <a:ext cx="4293054" cy="664810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289936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9B01B99F-2CE5-433C-8F7A-483D41C4A9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222184"/>
            <a:ext cx="11125200" cy="877824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sz="2400" b="1" kern="1200" dirty="0">
                <a:solidFill>
                  <a:srgbClr val="595959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Title Here</a:t>
            </a:r>
          </a:p>
        </p:txBody>
      </p:sp>
      <p:pic>
        <p:nvPicPr>
          <p:cNvPr id="22" name="Picture 21" descr="Background pattern&#10;&#10;Description automatically generated">
            <a:extLst>
              <a:ext uri="{FF2B5EF4-FFF2-40B4-BE49-F238E27FC236}">
                <a16:creationId xmlns:a16="http://schemas.microsoft.com/office/drawing/2014/main" id="{27D409DF-402A-DD18-BFCE-8888573143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813091" y="5882639"/>
            <a:ext cx="1388513" cy="989973"/>
          </a:xfrm>
          <a:prstGeom prst="rect">
            <a:avLst/>
          </a:prstGeom>
        </p:spPr>
      </p:pic>
      <p:sp>
        <p:nvSpPr>
          <p:cNvPr id="23" name="Marcador de número de diapositiva 5">
            <a:extLst>
              <a:ext uri="{FF2B5EF4-FFF2-40B4-BE49-F238E27FC236}">
                <a16:creationId xmlns:a16="http://schemas.microsoft.com/office/drawing/2014/main" id="{B982187F-CBBE-F09C-0F6F-730E0F0B1244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+mn-lt"/>
                <a:cs typeface="Calibri" panose="020F0502020204030204" pitchFamily="34" charset="0"/>
              </a:rPr>
              <a:pPr marL="0" indent="0" algn="r">
                <a:buNone/>
              </a:pPr>
              <a:t>‹#›</a:t>
            </a:fld>
            <a:endParaRPr lang="en-US" sz="1200" b="0">
              <a:solidFill>
                <a:srgbClr val="00001E"/>
              </a:solidFill>
              <a:latin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61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C0FEB3BA-721B-589F-B280-E41D2EE256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862"/>
            <a:ext cx="5760164" cy="410684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BFE785-2838-DB20-69BC-C891F083A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86" y="365125"/>
            <a:ext cx="10885714" cy="443198"/>
          </a:xfrm>
        </p:spPr>
        <p:txBody>
          <a:bodyPr vert="horz" lIns="0" tIns="0" rIns="0" bIns="0" rtlCol="0" anchor="t">
            <a:spAutoFit/>
          </a:bodyPr>
          <a:lstStyle>
            <a:lvl1pPr>
              <a:defRPr lang="en-US" sz="3200" b="1">
                <a:solidFill>
                  <a:srgbClr val="595959">
                    <a:alpha val="0"/>
                  </a:srgbClr>
                </a:solidFill>
                <a:latin typeface="Frutiger LT Pro 55 Roman" panose="020B0602020204020204" pitchFamily="34" charset="77"/>
                <a:ea typeface="+mn-ea"/>
              </a:defRPr>
            </a:lvl1pPr>
          </a:lstStyle>
          <a:p>
            <a:pPr marL="0" lvl="0" indent="0">
              <a:spcBef>
                <a:spcPts val="1000"/>
              </a:spcBef>
              <a:buFontTx/>
            </a:pPr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82349A-4A0D-2F1A-5D4C-076845A17C8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68" y="60327"/>
            <a:ext cx="4634846" cy="131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447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80B8E11D-6BED-B48C-252B-0F04157126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813096" y="5882640"/>
            <a:ext cx="1388513" cy="9899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86A238B-F154-7E78-DB9A-BBAE86520111}"/>
              </a:ext>
            </a:extLst>
          </p:cNvPr>
          <p:cNvSpPr txBox="1"/>
          <p:nvPr userDrawn="1"/>
        </p:nvSpPr>
        <p:spPr>
          <a:xfrm>
            <a:off x="3048000" y="6540330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dirty="0">
                <a:solidFill>
                  <a:srgbClr val="97A0A4"/>
                </a:solidFill>
                <a:effectLst/>
                <a:latin typeface="Frutiger LT Pro 45 Light" panose="020B0403030504020204" pitchFamily="34" charset="77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3</a:t>
            </a:r>
            <a:endParaRPr lang="en-IN" sz="1000" dirty="0">
              <a:solidFill>
                <a:srgbClr val="595959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5B7B342C-2053-B8D5-B7A5-C18344A02B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-10862"/>
            <a:ext cx="5760164" cy="41068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4F0261-E97B-48CA-B4CC-5464A4D57446}"/>
              </a:ext>
            </a:extLst>
          </p:cNvPr>
          <p:cNvSpPr/>
          <p:nvPr userDrawn="1"/>
        </p:nvSpPr>
        <p:spPr>
          <a:xfrm rot="10800000" flipH="1">
            <a:off x="0" y="1"/>
            <a:ext cx="12192000" cy="181927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77000"/>
                </a:schemeClr>
              </a:gs>
              <a:gs pos="17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Pro 45 Light" panose="020B0403030504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1D5034-7424-7EA7-D4FF-8B9BED086555}"/>
              </a:ext>
            </a:extLst>
          </p:cNvPr>
          <p:cNvSpPr/>
          <p:nvPr userDrawn="1"/>
        </p:nvSpPr>
        <p:spPr>
          <a:xfrm>
            <a:off x="11812078" y="6544781"/>
            <a:ext cx="18274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fld id="{9C5957C0-C9FD-924F-A662-3B71DAE40C56}" type="slidenum">
              <a:rPr lang="uk-UA" sz="1200">
                <a:solidFill>
                  <a:schemeClr val="tx1"/>
                </a:solidFill>
              </a:rPr>
              <a:pPr lvl="0" algn="r"/>
              <a:t>‹#›</a:t>
            </a:fld>
            <a:endParaRPr lang="uk-UA" sz="120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93E564D-6925-4F2F-B203-1854CEEB24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12" y="6456897"/>
            <a:ext cx="1134753" cy="32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624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F617820-762E-5D59-8836-813139520DAA}"/>
              </a:ext>
            </a:extLst>
          </p:cNvPr>
          <p:cNvCxnSpPr>
            <a:cxnSpLocks/>
          </p:cNvCxnSpPr>
          <p:nvPr userDrawn="1"/>
        </p:nvCxnSpPr>
        <p:spPr>
          <a:xfrm>
            <a:off x="0" y="399755"/>
            <a:ext cx="406400" cy="0"/>
          </a:xfrm>
          <a:prstGeom prst="line">
            <a:avLst/>
          </a:prstGeom>
          <a:ln w="571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02AAF7BD-B5E0-F8FE-F869-44F38930BB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877" y="171155"/>
            <a:ext cx="11338560" cy="4572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 kumimoji="0" lang="en-US" sz="2400" b="1" i="0" u="none" strike="noStrike" kern="0" cap="none" spc="0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E571E4-397C-D7CA-D301-A3C05E7DAEE9}"/>
              </a:ext>
            </a:extLst>
          </p:cNvPr>
          <p:cNvSpPr txBox="1"/>
          <p:nvPr userDrawn="1"/>
        </p:nvSpPr>
        <p:spPr>
          <a:xfrm>
            <a:off x="3048000" y="6540326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dirty="0">
                <a:solidFill>
                  <a:srgbClr val="97A0A4"/>
                </a:solidFill>
                <a:effectLst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©LTIMindtree | Privileged and Confidential 2023</a:t>
            </a:r>
            <a:endParaRPr lang="en-IN" sz="1000" dirty="0">
              <a:solidFill>
                <a:srgbClr val="595959"/>
              </a:solidFill>
              <a:effectLst/>
              <a:latin typeface="Source Sans Pro" panose="020B0503030403020204" pitchFamily="34" charset="0"/>
              <a:ea typeface="Source Sans Pro" panose="020B050303040302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A0F30D-4C75-D33A-828A-4EB1793ED1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6" t="17473" r="4213" b="18523"/>
          <a:stretch/>
        </p:blipFill>
        <p:spPr>
          <a:xfrm>
            <a:off x="229125" y="6491720"/>
            <a:ext cx="1270081" cy="24962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9B601C-AB8D-F890-29BC-BF953EE2A166}"/>
              </a:ext>
            </a:extLst>
          </p:cNvPr>
          <p:cNvSpPr/>
          <p:nvPr userDrawn="1"/>
        </p:nvSpPr>
        <p:spPr>
          <a:xfrm>
            <a:off x="11911314" y="6624366"/>
            <a:ext cx="279760" cy="23395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29785C-7325-2246-67F1-8A81AD8AFC12}"/>
              </a:ext>
            </a:extLst>
          </p:cNvPr>
          <p:cNvSpPr txBox="1"/>
          <p:nvPr userDrawn="1"/>
        </p:nvSpPr>
        <p:spPr>
          <a:xfrm>
            <a:off x="11910619" y="6649012"/>
            <a:ext cx="280455" cy="184666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fld id="{260E2A6B-A809-4840-BF14-8648BC0BDF87}" type="slidenum">
              <a:rPr lang="id-ID" sz="600" b="0" i="0" strike="noStrike" spc="0" smtClean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pPr algn="ctr"/>
              <a:t>‹#›</a:t>
            </a:fld>
            <a:endParaRPr lang="id-ID" sz="700" b="0" i="0" strike="noStrike" spc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4951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DFBDA-E726-25E3-5EB6-AB69A8989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599352-3588-46CA-E542-3B71FE228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D410A7-C70C-6DA1-C0CC-927F2DEE4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B43922-4AA3-0010-9213-78FBA04877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0494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58445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2822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10"/>
            <a:ext cx="12191984" cy="685799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7ABF328-B867-8C1C-8BB6-85FA1EF20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1953" y="1459963"/>
            <a:ext cx="2775991" cy="6397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defRPr sz="3200" b="1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Separator Slide</a:t>
            </a:r>
          </a:p>
        </p:txBody>
      </p:sp>
    </p:spTree>
    <p:extLst>
      <p:ext uri="{BB962C8B-B14F-4D97-AF65-F5344CB8AC3E}">
        <p14:creationId xmlns:p14="http://schemas.microsoft.com/office/powerpoint/2010/main" val="35991557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E47A04F0-E3CD-8783-11BD-BC94E5B4B5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082" y="269177"/>
            <a:ext cx="11201399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2800" b="1" kern="120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2077083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4115009" y="6437465"/>
            <a:ext cx="3945465" cy="260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04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©LTIMindtree | Privileged and Confidential 2024</a:t>
            </a:r>
            <a:endParaRPr kumimoji="0" lang="en-IN" sz="1067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15" name="Rectangle 83">
            <a:extLst>
              <a:ext uri="{FF2B5EF4-FFF2-40B4-BE49-F238E27FC236}">
                <a16:creationId xmlns:a16="http://schemas.microsoft.com/office/drawing/2014/main" id="{02F8F602-2C28-40AF-834B-AF1F39AA5D6B}"/>
              </a:ext>
            </a:extLst>
          </p:cNvPr>
          <p:cNvSpPr>
            <a:spLocks noGrp="1" noChangeArrowheads="1"/>
          </p:cNvSpPr>
          <p:nvPr userDrawn="1">
            <p:ph type="title" hasCustomPrompt="1"/>
          </p:nvPr>
        </p:nvSpPr>
        <p:spPr bwMode="gray">
          <a:xfrm>
            <a:off x="595087" y="408551"/>
            <a:ext cx="10515600" cy="3416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2467" b="1">
                <a:solidFill>
                  <a:srgbClr val="303030"/>
                </a:solidFill>
                <a:latin typeface="Frutiger 45 Light"/>
              </a:defRPr>
            </a:lvl1pPr>
          </a:lstStyle>
          <a:p>
            <a:pPr lvl="0" defTabSz="914377"/>
            <a:r>
              <a:rPr lang="en-US"/>
              <a:t>Click to edit Master title style</a:t>
            </a: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483C1A0F-2443-4124-AE9A-C0981BD0503D}"/>
              </a:ext>
            </a:extLst>
          </p:cNvPr>
          <p:cNvSpPr/>
          <p:nvPr userDrawn="1"/>
        </p:nvSpPr>
        <p:spPr>
          <a:xfrm rot="16200000">
            <a:off x="163513" y="465099"/>
            <a:ext cx="320040" cy="228600"/>
          </a:xfrm>
          <a:custGeom>
            <a:avLst/>
            <a:gdLst/>
            <a:ahLst/>
            <a:cxnLst/>
            <a:rect l="l" t="t" r="r" b="b"/>
            <a:pathLst>
              <a:path w="670560" h="332740">
                <a:moveTo>
                  <a:pt x="317309" y="253822"/>
                </a:moveTo>
                <a:lnTo>
                  <a:pt x="0" y="123545"/>
                </a:lnTo>
                <a:lnTo>
                  <a:pt x="0" y="202158"/>
                </a:lnTo>
                <a:lnTo>
                  <a:pt x="317309" y="332435"/>
                </a:lnTo>
                <a:lnTo>
                  <a:pt x="317309" y="253822"/>
                </a:lnTo>
                <a:close/>
              </a:path>
              <a:path w="670560" h="332740">
                <a:moveTo>
                  <a:pt x="670229" y="123545"/>
                </a:moveTo>
                <a:lnTo>
                  <a:pt x="352920" y="253796"/>
                </a:lnTo>
                <a:lnTo>
                  <a:pt x="352920" y="332409"/>
                </a:lnTo>
                <a:lnTo>
                  <a:pt x="670229" y="202158"/>
                </a:lnTo>
                <a:lnTo>
                  <a:pt x="670229" y="123545"/>
                </a:lnTo>
                <a:close/>
              </a:path>
              <a:path w="670560" h="332740">
                <a:moveTo>
                  <a:pt x="670229" y="0"/>
                </a:moveTo>
                <a:lnTo>
                  <a:pt x="335089" y="137566"/>
                </a:lnTo>
                <a:lnTo>
                  <a:pt x="0" y="0"/>
                </a:lnTo>
                <a:lnTo>
                  <a:pt x="0" y="78613"/>
                </a:lnTo>
                <a:lnTo>
                  <a:pt x="335076" y="216179"/>
                </a:lnTo>
                <a:lnTo>
                  <a:pt x="670229" y="78613"/>
                </a:lnTo>
                <a:lnTo>
                  <a:pt x="670229" y="0"/>
                </a:lnTo>
                <a:close/>
              </a:path>
            </a:pathLst>
          </a:custGeom>
          <a:solidFill>
            <a:srgbClr val="DF142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FAD8EF-D3D1-6E76-3233-0A1FFD924281}"/>
              </a:ext>
            </a:extLst>
          </p:cNvPr>
          <p:cNvSpPr/>
          <p:nvPr userDrawn="1"/>
        </p:nvSpPr>
        <p:spPr>
          <a:xfrm>
            <a:off x="11784647" y="6544319"/>
            <a:ext cx="351287" cy="2616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60934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Calibri Light"/>
              </a:rPr>
              <a:pPr marL="0" marR="0" lvl="0" indent="0" algn="ctr" defTabSz="60934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Calibri Ligh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3549482-81BE-6E8B-480B-09DB683CA12E}"/>
              </a:ext>
            </a:extLst>
          </p:cNvPr>
          <p:cNvGrpSpPr/>
          <p:nvPr userDrawn="1"/>
        </p:nvGrpSpPr>
        <p:grpSpPr>
          <a:xfrm>
            <a:off x="-1359363" y="0"/>
            <a:ext cx="628488" cy="3585632"/>
            <a:chOff x="-1738926" y="394394"/>
            <a:chExt cx="1169582" cy="358563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EE9E9D-7534-E222-E400-7F123AD32CF6}"/>
                </a:ext>
              </a:extLst>
            </p:cNvPr>
            <p:cNvSpPr txBox="1"/>
            <p:nvPr/>
          </p:nvSpPr>
          <p:spPr>
            <a:xfrm>
              <a:off x="-1738926" y="394394"/>
              <a:ext cx="1169582" cy="634770"/>
            </a:xfrm>
            <a:prstGeom prst="rect">
              <a:avLst/>
            </a:prstGeom>
            <a:solidFill>
              <a:srgbClr val="00206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/>
            <a:p>
              <a:pPr marL="171446" marR="0" lvl="0" indent="-171446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0B0845B-58EA-42A9-3C00-94B50ADBD1CE}"/>
                </a:ext>
              </a:extLst>
            </p:cNvPr>
            <p:cNvSpPr txBox="1"/>
            <p:nvPr/>
          </p:nvSpPr>
          <p:spPr>
            <a:xfrm>
              <a:off x="-1738926" y="1132109"/>
              <a:ext cx="1169582" cy="634770"/>
            </a:xfrm>
            <a:prstGeom prst="rect">
              <a:avLst/>
            </a:prstGeom>
            <a:solidFill>
              <a:srgbClr val="0070C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solidFill>
                    <a:schemeClr val="bg1"/>
                  </a:solidFill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0F16ADB-582F-D508-B6B0-920BF7AEAA28}"/>
                </a:ext>
              </a:extLst>
            </p:cNvPr>
            <p:cNvSpPr txBox="1"/>
            <p:nvPr/>
          </p:nvSpPr>
          <p:spPr>
            <a:xfrm>
              <a:off x="-1738926" y="1869825"/>
              <a:ext cx="1169582" cy="634770"/>
            </a:xfrm>
            <a:prstGeom prst="rect">
              <a:avLst/>
            </a:prstGeom>
            <a:solidFill>
              <a:srgbClr val="E6192F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B51F339-C9BC-CF57-B18F-3071ED85DBFE}"/>
                </a:ext>
              </a:extLst>
            </p:cNvPr>
            <p:cNvSpPr txBox="1"/>
            <p:nvPr/>
          </p:nvSpPr>
          <p:spPr>
            <a:xfrm>
              <a:off x="-1738926" y="2607541"/>
              <a:ext cx="1169582" cy="634770"/>
            </a:xfrm>
            <a:prstGeom prst="rect">
              <a:avLst/>
            </a:prstGeom>
            <a:solidFill>
              <a:srgbClr val="00B0F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345FC80-96B1-2997-45BC-B41E7A5529DF}"/>
                </a:ext>
              </a:extLst>
            </p:cNvPr>
            <p:cNvSpPr txBox="1"/>
            <p:nvPr/>
          </p:nvSpPr>
          <p:spPr>
            <a:xfrm>
              <a:off x="-1738926" y="3345256"/>
              <a:ext cx="1169582" cy="6347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2" name="Picture 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3B0646D-B093-9231-13EA-BCD364CDB1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116" y="6382898"/>
            <a:ext cx="1964267" cy="43917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853F2B1-BC86-4014-5D86-D92F540EAE06}"/>
              </a:ext>
            </a:extLst>
          </p:cNvPr>
          <p:cNvSpPr/>
          <p:nvPr userDrawn="1"/>
        </p:nvSpPr>
        <p:spPr>
          <a:xfrm>
            <a:off x="1639615" y="6382897"/>
            <a:ext cx="809296" cy="423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21244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3BA9357F-11E9-B623-DB32-AA16F0336D11}"/>
              </a:ext>
            </a:extLst>
          </p:cNvPr>
          <p:cNvSpPr txBox="1">
            <a:spLocks/>
          </p:cNvSpPr>
          <p:nvPr userDrawn="1"/>
        </p:nvSpPr>
        <p:spPr>
          <a:xfrm>
            <a:off x="11221093" y="6437871"/>
            <a:ext cx="828095" cy="324139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439014-E629-42E3-A58B-61A0F1C8CF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utiger 45 Light" pitchFamily="2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Frutiger 45 Light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4DCCD2-E9DA-CB5C-BF93-44D82B68C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439" y="277576"/>
            <a:ext cx="11485124" cy="360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1FCC90-A1E8-5702-8E79-16A6D14B80B3}"/>
              </a:ext>
            </a:extLst>
          </p:cNvPr>
          <p:cNvSpPr/>
          <p:nvPr userDrawn="1"/>
        </p:nvSpPr>
        <p:spPr>
          <a:xfrm>
            <a:off x="1" y="2222500"/>
            <a:ext cx="88900" cy="3835400"/>
          </a:xfrm>
          <a:prstGeom prst="rect">
            <a:avLst/>
          </a:prstGeom>
          <a:solidFill>
            <a:srgbClr val="E61E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8F0840-3DF2-CC68-0909-DB09F2FAAC45}"/>
              </a:ext>
            </a:extLst>
          </p:cNvPr>
          <p:cNvSpPr/>
          <p:nvPr userDrawn="1"/>
        </p:nvSpPr>
        <p:spPr>
          <a:xfrm>
            <a:off x="12103101" y="380859"/>
            <a:ext cx="88900" cy="2619631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354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5">
            <a:extLst>
              <a:ext uri="{FF2B5EF4-FFF2-40B4-BE49-F238E27FC236}">
                <a16:creationId xmlns:a16="http://schemas.microsoft.com/office/drawing/2014/main" id="{88F87DCB-9C97-7BB3-AA94-97494D5C0577}"/>
              </a:ext>
            </a:extLst>
          </p:cNvPr>
          <p:cNvSpPr/>
          <p:nvPr userDrawn="1"/>
        </p:nvSpPr>
        <p:spPr>
          <a:xfrm>
            <a:off x="0" y="199508"/>
            <a:ext cx="149627" cy="423949"/>
          </a:xfrm>
          <a:custGeom>
            <a:avLst/>
            <a:gdLst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0 w 249382"/>
              <a:gd name="connsiteY4" fmla="*/ 0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91440 w 249382"/>
              <a:gd name="connsiteY4" fmla="*/ 91440 h 423949"/>
              <a:gd name="connsiteX0" fmla="*/ 33251 w 282633"/>
              <a:gd name="connsiteY0" fmla="*/ 0 h 423949"/>
              <a:gd name="connsiteX1" fmla="*/ 282633 w 282633"/>
              <a:gd name="connsiteY1" fmla="*/ 0 h 423949"/>
              <a:gd name="connsiteX2" fmla="*/ 282633 w 282633"/>
              <a:gd name="connsiteY2" fmla="*/ 423949 h 423949"/>
              <a:gd name="connsiteX3" fmla="*/ 33251 w 282633"/>
              <a:gd name="connsiteY3" fmla="*/ 423949 h 423949"/>
              <a:gd name="connsiteX4" fmla="*/ 0 w 282633"/>
              <a:gd name="connsiteY4" fmla="*/ 307571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382" h="423949">
                <a:moveTo>
                  <a:pt x="0" y="0"/>
                </a:moveTo>
                <a:lnTo>
                  <a:pt x="249382" y="0"/>
                </a:lnTo>
                <a:lnTo>
                  <a:pt x="249382" y="423949"/>
                </a:lnTo>
                <a:lnTo>
                  <a:pt x="0" y="423949"/>
                </a:lnTo>
              </a:path>
            </a:pathLst>
          </a:custGeom>
          <a:noFill/>
          <a:ln w="76200">
            <a:solidFill>
              <a:srgbClr val="0058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E87A9D7-9876-DA47-25E6-C254B490E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333460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F8F8F8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E03DCE-30C9-F426-C00F-B9F460DC72B9}"/>
              </a:ext>
            </a:extLst>
          </p:cNvPr>
          <p:cNvSpPr/>
          <p:nvPr userDrawn="1"/>
        </p:nvSpPr>
        <p:spPr>
          <a:xfrm>
            <a:off x="11818060" y="6546057"/>
            <a:ext cx="373013" cy="31194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C22D51-73B5-F05B-D4A5-8E57C78EC35B}"/>
              </a:ext>
            </a:extLst>
          </p:cNvPr>
          <p:cNvSpPr txBox="1"/>
          <p:nvPr userDrawn="1"/>
        </p:nvSpPr>
        <p:spPr>
          <a:xfrm>
            <a:off x="11818059" y="6596391"/>
            <a:ext cx="373015" cy="215444"/>
          </a:xfrm>
          <a:prstGeom prst="rect">
            <a:avLst/>
          </a:prstGeom>
          <a:solidFill>
            <a:srgbClr val="FF0000"/>
          </a:solidFill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0E2A6B-A809-4840-BF14-8648BC0BDF87}" type="slidenum">
              <a:rPr kumimoji="0" lang="id-ID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Open Sans Semibold" panose="020B0706030804020204" pitchFamily="34" charset="0"/>
                <a:cs typeface="Calibri" panose="020F050202020403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93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Open Sans Semibold" panose="020B0706030804020204" pitchFamily="34" charset="0"/>
              <a:cs typeface="Calibri" panose="020F05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4DE892-AC52-4750-88C7-B13F17F4295A}"/>
              </a:ext>
            </a:extLst>
          </p:cNvPr>
          <p:cNvCxnSpPr>
            <a:cxnSpLocks/>
          </p:cNvCxnSpPr>
          <p:nvPr userDrawn="1"/>
        </p:nvCxnSpPr>
        <p:spPr>
          <a:xfrm>
            <a:off x="0" y="399755"/>
            <a:ext cx="4064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5DCF73F-AAE0-43DE-9487-63B1CA5D3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27" y="171155"/>
            <a:ext cx="11338560" cy="4572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 kumimoji="0" lang="en-US" sz="2400" b="1" i="0" u="none" strike="noStrike" kern="0" cap="none" spc="0" normalizeH="0" baseline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3074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84540A-011B-D9A9-3F51-021BB7CF0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724" y="143953"/>
            <a:ext cx="11942275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>
                <a:solidFill>
                  <a:srgbClr val="2850A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E8D8C8-F5A6-BB9D-5415-E305C4B11A03}"/>
              </a:ext>
            </a:extLst>
          </p:cNvPr>
          <p:cNvSpPr/>
          <p:nvPr userDrawn="1"/>
        </p:nvSpPr>
        <p:spPr>
          <a:xfrm>
            <a:off x="0" y="143953"/>
            <a:ext cx="101600" cy="432000"/>
          </a:xfrm>
          <a:prstGeom prst="rect">
            <a:avLst/>
          </a:prstGeom>
          <a:solidFill>
            <a:srgbClr val="EA1939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096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0102D0F-157A-1052-F873-B3A913804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722" y="469835"/>
            <a:ext cx="11130552" cy="33239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400" b="1">
                <a:solidFill>
                  <a:schemeClr val="accent2">
                    <a:lumMod val="50000"/>
                  </a:schemeClr>
                </a:solidFill>
                <a:ea typeface="+mn-ea"/>
              </a:defRPr>
            </a:lvl1pPr>
          </a:lstStyle>
          <a:p>
            <a:pPr marL="0" lvl="0" indent="0">
              <a:spcBef>
                <a:spcPts val="1000"/>
              </a:spcBef>
              <a:buFontTx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2137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9705A9-9B4A-5EAB-8740-6749EDAD9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DE47C1-6C8B-2E26-2E1C-4BFA6BBD9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2CE92B-334A-CC98-4031-B9CC08138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8078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DF1CA-D0D8-F54A-A2BD-04F2B155F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395" y="215067"/>
            <a:ext cx="10885714" cy="45783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800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08636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7663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8271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10"/>
            <a:ext cx="12191984" cy="685799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7ABF328-B867-8C1C-8BB6-85FA1EF20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1953" y="1459963"/>
            <a:ext cx="2775991" cy="6397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defRPr sz="3200" b="1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Separator Slide</a:t>
            </a:r>
          </a:p>
        </p:txBody>
      </p:sp>
    </p:spTree>
    <p:extLst>
      <p:ext uri="{BB962C8B-B14F-4D97-AF65-F5344CB8AC3E}">
        <p14:creationId xmlns:p14="http://schemas.microsoft.com/office/powerpoint/2010/main" val="4884391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E47A04F0-E3CD-8783-11BD-BC94E5B4B5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082" y="269177"/>
            <a:ext cx="11201399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2800" b="1" kern="120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7991950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4115009" y="6437465"/>
            <a:ext cx="3945465" cy="260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104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67" kern="1200" dirty="0">
                <a:solidFill>
                  <a:srgbClr val="7C7C7C"/>
                </a:solidFill>
                <a:latin typeface="Calibri Light"/>
                <a:ea typeface="+mn-ea"/>
                <a:cs typeface="Calibri Light"/>
              </a:rPr>
              <a:t>©LTIMindtree | Privileged and Confidential 2024</a:t>
            </a:r>
            <a:endParaRPr lang="en-IN" sz="1067" kern="1200" dirty="0">
              <a:solidFill>
                <a:srgbClr val="7C7C7C"/>
              </a:solidFill>
              <a:latin typeface="Calibri Light"/>
              <a:ea typeface="+mn-ea"/>
              <a:cs typeface="Calibri Light"/>
            </a:endParaRPr>
          </a:p>
        </p:txBody>
      </p:sp>
      <p:sp>
        <p:nvSpPr>
          <p:cNvPr id="15" name="Rectangle 83">
            <a:extLst>
              <a:ext uri="{FF2B5EF4-FFF2-40B4-BE49-F238E27FC236}">
                <a16:creationId xmlns:a16="http://schemas.microsoft.com/office/drawing/2014/main" id="{02F8F602-2C28-40AF-834B-AF1F39AA5D6B}"/>
              </a:ext>
            </a:extLst>
          </p:cNvPr>
          <p:cNvSpPr>
            <a:spLocks noGrp="1" noChangeArrowheads="1"/>
          </p:cNvSpPr>
          <p:nvPr userDrawn="1">
            <p:ph type="title" hasCustomPrompt="1"/>
          </p:nvPr>
        </p:nvSpPr>
        <p:spPr bwMode="gray">
          <a:xfrm>
            <a:off x="595087" y="408551"/>
            <a:ext cx="10515600" cy="3416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2467" b="1">
                <a:solidFill>
                  <a:srgbClr val="303030"/>
                </a:solidFill>
                <a:latin typeface="Frutiger 45 Light"/>
              </a:defRPr>
            </a:lvl1pPr>
          </a:lstStyle>
          <a:p>
            <a:pPr lvl="0" defTabSz="914377"/>
            <a:r>
              <a:rPr lang="en-US"/>
              <a:t>Click to edit Master title style</a:t>
            </a: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483C1A0F-2443-4124-AE9A-C0981BD0503D}"/>
              </a:ext>
            </a:extLst>
          </p:cNvPr>
          <p:cNvSpPr/>
          <p:nvPr userDrawn="1"/>
        </p:nvSpPr>
        <p:spPr>
          <a:xfrm rot="16200000">
            <a:off x="163513" y="465099"/>
            <a:ext cx="320040" cy="228600"/>
          </a:xfrm>
          <a:custGeom>
            <a:avLst/>
            <a:gdLst/>
            <a:ahLst/>
            <a:cxnLst/>
            <a:rect l="l" t="t" r="r" b="b"/>
            <a:pathLst>
              <a:path w="670560" h="332740">
                <a:moveTo>
                  <a:pt x="317309" y="253822"/>
                </a:moveTo>
                <a:lnTo>
                  <a:pt x="0" y="123545"/>
                </a:lnTo>
                <a:lnTo>
                  <a:pt x="0" y="202158"/>
                </a:lnTo>
                <a:lnTo>
                  <a:pt x="317309" y="332435"/>
                </a:lnTo>
                <a:lnTo>
                  <a:pt x="317309" y="253822"/>
                </a:lnTo>
                <a:close/>
              </a:path>
              <a:path w="670560" h="332740">
                <a:moveTo>
                  <a:pt x="670229" y="123545"/>
                </a:moveTo>
                <a:lnTo>
                  <a:pt x="352920" y="253796"/>
                </a:lnTo>
                <a:lnTo>
                  <a:pt x="352920" y="332409"/>
                </a:lnTo>
                <a:lnTo>
                  <a:pt x="670229" y="202158"/>
                </a:lnTo>
                <a:lnTo>
                  <a:pt x="670229" y="123545"/>
                </a:lnTo>
                <a:close/>
              </a:path>
              <a:path w="670560" h="332740">
                <a:moveTo>
                  <a:pt x="670229" y="0"/>
                </a:moveTo>
                <a:lnTo>
                  <a:pt x="335089" y="137566"/>
                </a:lnTo>
                <a:lnTo>
                  <a:pt x="0" y="0"/>
                </a:lnTo>
                <a:lnTo>
                  <a:pt x="0" y="78613"/>
                </a:lnTo>
                <a:lnTo>
                  <a:pt x="335076" y="216179"/>
                </a:lnTo>
                <a:lnTo>
                  <a:pt x="670229" y="78613"/>
                </a:lnTo>
                <a:lnTo>
                  <a:pt x="670229" y="0"/>
                </a:lnTo>
                <a:close/>
              </a:path>
            </a:pathLst>
          </a:custGeom>
          <a:solidFill>
            <a:srgbClr val="DF1424"/>
          </a:solidFill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FAD8EF-D3D1-6E76-3233-0A1FFD924281}"/>
              </a:ext>
            </a:extLst>
          </p:cNvPr>
          <p:cNvSpPr/>
          <p:nvPr userDrawn="1"/>
        </p:nvSpPr>
        <p:spPr>
          <a:xfrm>
            <a:off x="11784647" y="6544319"/>
            <a:ext cx="351287" cy="2616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09341" fontAlgn="base">
              <a:spcBef>
                <a:spcPct val="0"/>
              </a:spcBef>
              <a:spcAft>
                <a:spcPct val="0"/>
              </a:spcAft>
              <a:defRPr/>
            </a:pPr>
            <a:fld id="{9C5957C0-C9FD-924F-A662-3B71DAE40C56}" type="slidenum">
              <a:rPr lang="uk-UA" sz="1100" smtClean="0">
                <a:solidFill>
                  <a:schemeClr val="bg1"/>
                </a:solidFill>
                <a:latin typeface="+mn-lt"/>
                <a:cs typeface="Calibri Light"/>
              </a:rPr>
              <a:pPr algn="ctr" defTabSz="609341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uk-UA" sz="1100">
              <a:solidFill>
                <a:schemeClr val="bg1"/>
              </a:solidFill>
              <a:latin typeface="+mn-lt"/>
              <a:cs typeface="Calibri Ligh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3549482-81BE-6E8B-480B-09DB683CA12E}"/>
              </a:ext>
            </a:extLst>
          </p:cNvPr>
          <p:cNvGrpSpPr/>
          <p:nvPr userDrawn="1"/>
        </p:nvGrpSpPr>
        <p:grpSpPr>
          <a:xfrm>
            <a:off x="-1359363" y="0"/>
            <a:ext cx="628488" cy="3585632"/>
            <a:chOff x="-1738926" y="394394"/>
            <a:chExt cx="1169582" cy="358563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EE9E9D-7534-E222-E400-7F123AD32CF6}"/>
                </a:ext>
              </a:extLst>
            </p:cNvPr>
            <p:cNvSpPr txBox="1"/>
            <p:nvPr/>
          </p:nvSpPr>
          <p:spPr>
            <a:xfrm>
              <a:off x="-1738926" y="394394"/>
              <a:ext cx="1169582" cy="634770"/>
            </a:xfrm>
            <a:prstGeom prst="rect">
              <a:avLst/>
            </a:prstGeom>
            <a:solidFill>
              <a:srgbClr val="00206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/>
            <a:p>
              <a:pPr marL="171446" indent="-171446" algn="ctr"/>
              <a:endParaRPr lang="ko-KR" altLang="en-US" sz="1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0B0845B-58EA-42A9-3C00-94B50ADBD1CE}"/>
                </a:ext>
              </a:extLst>
            </p:cNvPr>
            <p:cNvSpPr txBox="1"/>
            <p:nvPr/>
          </p:nvSpPr>
          <p:spPr>
            <a:xfrm>
              <a:off x="-1738926" y="1132109"/>
              <a:ext cx="1169582" cy="634770"/>
            </a:xfrm>
            <a:prstGeom prst="rect">
              <a:avLst/>
            </a:prstGeom>
            <a:solidFill>
              <a:srgbClr val="0070C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solidFill>
                    <a:schemeClr val="bg1"/>
                  </a:solidFill>
                  <a:cs typeface="Calibri" panose="020F0502020204030204" pitchFamily="34" charset="0"/>
                </a:defRPr>
              </a:lvl1pPr>
            </a:lstStyle>
            <a:p>
              <a:endParaRPr lang="ko-KR" altLang="en-US" sz="18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0F16ADB-582F-D508-B6B0-920BF7AEAA28}"/>
                </a:ext>
              </a:extLst>
            </p:cNvPr>
            <p:cNvSpPr txBox="1"/>
            <p:nvPr/>
          </p:nvSpPr>
          <p:spPr>
            <a:xfrm>
              <a:off x="-1738926" y="1869825"/>
              <a:ext cx="1169582" cy="634770"/>
            </a:xfrm>
            <a:prstGeom prst="rect">
              <a:avLst/>
            </a:prstGeom>
            <a:solidFill>
              <a:srgbClr val="E6192F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endParaRPr lang="ko-KR" altLang="en-US" sz="180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B51F339-C9BC-CF57-B18F-3071ED85DBFE}"/>
                </a:ext>
              </a:extLst>
            </p:cNvPr>
            <p:cNvSpPr txBox="1"/>
            <p:nvPr/>
          </p:nvSpPr>
          <p:spPr>
            <a:xfrm>
              <a:off x="-1738926" y="2607541"/>
              <a:ext cx="1169582" cy="634770"/>
            </a:xfrm>
            <a:prstGeom prst="rect">
              <a:avLst/>
            </a:prstGeom>
            <a:solidFill>
              <a:srgbClr val="00B0F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endParaRPr lang="ko-KR" altLang="en-US" sz="180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345FC80-96B1-2997-45BC-B41E7A5529DF}"/>
                </a:ext>
              </a:extLst>
            </p:cNvPr>
            <p:cNvSpPr txBox="1"/>
            <p:nvPr/>
          </p:nvSpPr>
          <p:spPr>
            <a:xfrm>
              <a:off x="-1738926" y="3345256"/>
              <a:ext cx="1169582" cy="6347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endParaRPr lang="ko-KR" altLang="en-US" sz="1800"/>
            </a:p>
          </p:txBody>
        </p:sp>
      </p:grpSp>
      <p:pic>
        <p:nvPicPr>
          <p:cNvPr id="2" name="Picture 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3B0646D-B093-9231-13EA-BCD364CDB1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116" y="6382898"/>
            <a:ext cx="1964267" cy="43917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853F2B1-BC86-4014-5D86-D92F540EAE06}"/>
              </a:ext>
            </a:extLst>
          </p:cNvPr>
          <p:cNvSpPr/>
          <p:nvPr userDrawn="1"/>
        </p:nvSpPr>
        <p:spPr>
          <a:xfrm>
            <a:off x="1639615" y="6382897"/>
            <a:ext cx="809296" cy="423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</p:spTree>
    <p:extLst>
      <p:ext uri="{BB962C8B-B14F-4D97-AF65-F5344CB8AC3E}">
        <p14:creationId xmlns:p14="http://schemas.microsoft.com/office/powerpoint/2010/main" val="401953427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3BA9357F-11E9-B623-DB32-AA16F0336D11}"/>
              </a:ext>
            </a:extLst>
          </p:cNvPr>
          <p:cNvSpPr txBox="1">
            <a:spLocks/>
          </p:cNvSpPr>
          <p:nvPr userDrawn="1"/>
        </p:nvSpPr>
        <p:spPr>
          <a:xfrm>
            <a:off x="11221093" y="6437871"/>
            <a:ext cx="828095" cy="324139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chemeClr val="bg1">
                    <a:lumMod val="50000"/>
                  </a:schemeClr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chemeClr val="bg1">
                  <a:lumMod val="50000"/>
                </a:schemeClr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4DCCD2-E9DA-CB5C-BF93-44D82B68C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439" y="277576"/>
            <a:ext cx="11485124" cy="360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1FCC90-A1E8-5702-8E79-16A6D14B80B3}"/>
              </a:ext>
            </a:extLst>
          </p:cNvPr>
          <p:cNvSpPr/>
          <p:nvPr userDrawn="1"/>
        </p:nvSpPr>
        <p:spPr>
          <a:xfrm>
            <a:off x="1" y="2222500"/>
            <a:ext cx="88900" cy="3835400"/>
          </a:xfrm>
          <a:prstGeom prst="rect">
            <a:avLst/>
          </a:prstGeom>
          <a:solidFill>
            <a:srgbClr val="E61E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8F0840-3DF2-CC68-0909-DB09F2FAAC45}"/>
              </a:ext>
            </a:extLst>
          </p:cNvPr>
          <p:cNvSpPr/>
          <p:nvPr userDrawn="1"/>
        </p:nvSpPr>
        <p:spPr>
          <a:xfrm>
            <a:off x="12103101" y="380859"/>
            <a:ext cx="88900" cy="2619631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861622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5">
            <a:extLst>
              <a:ext uri="{FF2B5EF4-FFF2-40B4-BE49-F238E27FC236}">
                <a16:creationId xmlns:a16="http://schemas.microsoft.com/office/drawing/2014/main" id="{88F87DCB-9C97-7BB3-AA94-97494D5C0577}"/>
              </a:ext>
            </a:extLst>
          </p:cNvPr>
          <p:cNvSpPr/>
          <p:nvPr userDrawn="1"/>
        </p:nvSpPr>
        <p:spPr>
          <a:xfrm>
            <a:off x="0" y="199508"/>
            <a:ext cx="149627" cy="423949"/>
          </a:xfrm>
          <a:custGeom>
            <a:avLst/>
            <a:gdLst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0 w 249382"/>
              <a:gd name="connsiteY4" fmla="*/ 0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91440 w 249382"/>
              <a:gd name="connsiteY4" fmla="*/ 91440 h 423949"/>
              <a:gd name="connsiteX0" fmla="*/ 33251 w 282633"/>
              <a:gd name="connsiteY0" fmla="*/ 0 h 423949"/>
              <a:gd name="connsiteX1" fmla="*/ 282633 w 282633"/>
              <a:gd name="connsiteY1" fmla="*/ 0 h 423949"/>
              <a:gd name="connsiteX2" fmla="*/ 282633 w 282633"/>
              <a:gd name="connsiteY2" fmla="*/ 423949 h 423949"/>
              <a:gd name="connsiteX3" fmla="*/ 33251 w 282633"/>
              <a:gd name="connsiteY3" fmla="*/ 423949 h 423949"/>
              <a:gd name="connsiteX4" fmla="*/ 0 w 282633"/>
              <a:gd name="connsiteY4" fmla="*/ 307571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382" h="423949">
                <a:moveTo>
                  <a:pt x="0" y="0"/>
                </a:moveTo>
                <a:lnTo>
                  <a:pt x="249382" y="0"/>
                </a:lnTo>
                <a:lnTo>
                  <a:pt x="249382" y="423949"/>
                </a:lnTo>
                <a:lnTo>
                  <a:pt x="0" y="423949"/>
                </a:lnTo>
              </a:path>
            </a:pathLst>
          </a:custGeom>
          <a:noFill/>
          <a:ln w="76200">
            <a:solidFill>
              <a:srgbClr val="0058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2"/>
              </a:solidFill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E87A9D7-9876-DA47-25E6-C254B490E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342164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F8F8F8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E03DCE-30C9-F426-C00F-B9F460DC72B9}"/>
              </a:ext>
            </a:extLst>
          </p:cNvPr>
          <p:cNvSpPr/>
          <p:nvPr userDrawn="1"/>
        </p:nvSpPr>
        <p:spPr>
          <a:xfrm>
            <a:off x="11818060" y="6546057"/>
            <a:ext cx="373013" cy="31194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C22D51-73B5-F05B-D4A5-8E57C78EC35B}"/>
              </a:ext>
            </a:extLst>
          </p:cNvPr>
          <p:cNvSpPr txBox="1"/>
          <p:nvPr userDrawn="1"/>
        </p:nvSpPr>
        <p:spPr>
          <a:xfrm>
            <a:off x="11818059" y="6596391"/>
            <a:ext cx="373015" cy="215444"/>
          </a:xfrm>
          <a:prstGeom prst="rect">
            <a:avLst/>
          </a:prstGeom>
          <a:solidFill>
            <a:srgbClr val="FF0000"/>
          </a:solidFill>
          <a:effectLst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800" b="0" i="0" strike="noStrike" spc="0" smtClean="0">
                <a:solidFill>
                  <a:schemeClr val="bg1"/>
                </a:solidFill>
                <a:latin typeface="Calibri" panose="020F0502020204030204" pitchFamily="34" charset="0"/>
                <a:ea typeface="Open Sans Semibold" panose="020B0706030804020204" pitchFamily="34" charset="0"/>
                <a:cs typeface="Calibri" panose="020F0502020204030204" pitchFamily="34" charset="0"/>
              </a:rPr>
              <a:pPr algn="ctr"/>
              <a:t>‹#›</a:t>
            </a:fld>
            <a:endParaRPr lang="id-ID" sz="933" b="0" i="0" strike="noStrike" spc="0" dirty="0">
              <a:solidFill>
                <a:schemeClr val="bg1"/>
              </a:solidFill>
              <a:latin typeface="Calibri" panose="020F0502020204030204" pitchFamily="34" charset="0"/>
              <a:ea typeface="Open Sans Semibold" panose="020B0706030804020204" pitchFamily="34" charset="0"/>
              <a:cs typeface="Calibri" panose="020F05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4DE892-AC52-4750-88C7-B13F17F4295A}"/>
              </a:ext>
            </a:extLst>
          </p:cNvPr>
          <p:cNvCxnSpPr>
            <a:cxnSpLocks/>
          </p:cNvCxnSpPr>
          <p:nvPr userDrawn="1"/>
        </p:nvCxnSpPr>
        <p:spPr>
          <a:xfrm>
            <a:off x="0" y="399755"/>
            <a:ext cx="4064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5DCF73F-AAE0-43DE-9487-63B1CA5D3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27" y="171155"/>
            <a:ext cx="11338560" cy="4572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 kumimoji="0" lang="en-US" sz="2400" b="1" i="0" u="none" strike="noStrike" kern="0" cap="none" spc="0" normalizeH="0" baseline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5962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84540A-011B-D9A9-3F51-021BB7CF0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724" y="143953"/>
            <a:ext cx="11942275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>
                <a:solidFill>
                  <a:srgbClr val="2850A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E8D8C8-F5A6-BB9D-5415-E305C4B11A03}"/>
              </a:ext>
            </a:extLst>
          </p:cNvPr>
          <p:cNvSpPr/>
          <p:nvPr userDrawn="1"/>
        </p:nvSpPr>
        <p:spPr>
          <a:xfrm>
            <a:off x="0" y="143953"/>
            <a:ext cx="101600" cy="432000"/>
          </a:xfrm>
          <a:prstGeom prst="rect">
            <a:avLst/>
          </a:prstGeom>
          <a:solidFill>
            <a:srgbClr val="EA1939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0252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3D497-032B-72E5-4751-A5A6D5DFB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90B70C-892F-819E-8B71-7EF3FD2ACE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458D3-5D13-0C97-511F-6DA77C54C8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E5F3D-3D11-A9C2-ED97-F752B66D08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06B94B-9987-3BB9-24EF-00ABBA848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1DD910-99F0-3731-50CC-7A616BF127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7415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0102D0F-157A-1052-F873-B3A913804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722" y="469835"/>
            <a:ext cx="11130552" cy="33239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400" b="1">
                <a:solidFill>
                  <a:schemeClr val="accent2">
                    <a:lumMod val="50000"/>
                  </a:schemeClr>
                </a:solidFill>
                <a:ea typeface="+mn-ea"/>
              </a:defRPr>
            </a:lvl1pPr>
          </a:lstStyle>
          <a:p>
            <a:pPr marL="0" lvl="0" indent="0">
              <a:spcBef>
                <a:spcPts val="1000"/>
              </a:spcBef>
              <a:buFontTx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360656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DF1CA-D0D8-F54A-A2BD-04F2B155F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395" y="215067"/>
            <a:ext cx="10885714" cy="45783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800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8824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1F6AF-7218-9CA4-FD63-52A48DBB0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1018255-AE36-0019-2EE8-A59AAE1D67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8B836B-248C-4001-5189-4DE634E3DE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11CFC5-1AA6-4B2B-B33C-B75A6BE0A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C8FB0D-4EDA-9D04-786F-2F2DBAD95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4E729F-8DAA-B7CC-E551-6A0D9C1C7E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575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slideLayout" Target="../slideLayouts/slideLayout55.xml"/><Relationship Id="rId47" Type="http://schemas.openxmlformats.org/officeDocument/2006/relationships/theme" Target="../theme/theme3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58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4" Type="http://schemas.openxmlformats.org/officeDocument/2006/relationships/slideLayout" Target="../slideLayouts/slideLayout57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slideLayout" Target="../slideLayouts/slideLayout56.xml"/><Relationship Id="rId48" Type="http://schemas.openxmlformats.org/officeDocument/2006/relationships/image" Target="../media/image3.emf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4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20.sv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19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20.svg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1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A8C000-03F0-C067-B914-55B53370B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916AE1-364E-A2F3-B5CA-7B54A640E6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54BF69-E292-9A0F-0485-4553BB56EA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D2EDF5-8F26-48DB-909C-EAB61A8A8DD0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B0BE6A-8DC1-DBF8-355C-A4C3011F99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E53644-2740-B8AF-4687-4091B9D536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3F3F-2A38-487E-8BD4-44AF00D9F9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885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D9078E83-65D9-4EE8-A751-D59F50960749}"/>
              </a:ext>
            </a:extLst>
          </p:cNvPr>
          <p:cNvGrpSpPr/>
          <p:nvPr userDrawn="1"/>
        </p:nvGrpSpPr>
        <p:grpSpPr>
          <a:xfrm>
            <a:off x="11270657" y="6352155"/>
            <a:ext cx="915495" cy="505845"/>
            <a:chOff x="11180725" y="6293644"/>
            <a:chExt cx="1011275" cy="564356"/>
          </a:xfrm>
        </p:grpSpPr>
        <p:sp>
          <p:nvSpPr>
            <p:cNvPr id="19" name="Rectangle 2">
              <a:extLst>
                <a:ext uri="{FF2B5EF4-FFF2-40B4-BE49-F238E27FC236}">
                  <a16:creationId xmlns:a16="http://schemas.microsoft.com/office/drawing/2014/main" id="{F35347D6-EDB2-4F4A-9C14-94F4CB7D7051}"/>
                </a:ext>
              </a:extLst>
            </p:cNvPr>
            <p:cNvSpPr/>
            <p:nvPr userDrawn="1"/>
          </p:nvSpPr>
          <p:spPr bwMode="auto">
            <a:xfrm>
              <a:off x="11403806" y="6293644"/>
              <a:ext cx="788194" cy="564356"/>
            </a:xfrm>
            <a:custGeom>
              <a:avLst/>
              <a:gdLst>
                <a:gd name="connsiteX0" fmla="*/ 0 w 788194"/>
                <a:gd name="connsiteY0" fmla="*/ 0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0 w 788194"/>
                <a:gd name="connsiteY4" fmla="*/ 0 h 564356"/>
                <a:gd name="connsiteX0" fmla="*/ 276225 w 788194"/>
                <a:gd name="connsiteY0" fmla="*/ 228600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276225 w 788194"/>
                <a:gd name="connsiteY4" fmla="*/ 228600 h 564356"/>
                <a:gd name="connsiteX0" fmla="*/ 385763 w 788194"/>
                <a:gd name="connsiteY0" fmla="*/ 411957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385763 w 788194"/>
                <a:gd name="connsiteY4" fmla="*/ 411957 h 564356"/>
                <a:gd name="connsiteX0" fmla="*/ 328613 w 788194"/>
                <a:gd name="connsiteY0" fmla="*/ 328613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328613 w 788194"/>
                <a:gd name="connsiteY4" fmla="*/ 328613 h 564356"/>
                <a:gd name="connsiteX0" fmla="*/ 0 w 788194"/>
                <a:gd name="connsiteY0" fmla="*/ 564356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8194" h="564356">
                  <a:moveTo>
                    <a:pt x="0" y="564356"/>
                  </a:moveTo>
                  <a:lnTo>
                    <a:pt x="788194" y="0"/>
                  </a:lnTo>
                  <a:lnTo>
                    <a:pt x="788194" y="564356"/>
                  </a:lnTo>
                  <a:lnTo>
                    <a:pt x="0" y="564356"/>
                  </a:lnTo>
                  <a:close/>
                </a:path>
              </a:pathLst>
            </a:custGeom>
            <a:gradFill>
              <a:gsLst>
                <a:gs pos="0">
                  <a:srgbClr val="2165AC"/>
                </a:gs>
                <a:gs pos="57000">
                  <a:srgbClr val="383081"/>
                </a:gs>
              </a:gsLst>
              <a:lin ang="8400000" scaled="0"/>
            </a:gra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endParaRPr>
            </a:p>
          </p:txBody>
        </p:sp>
        <p:sp>
          <p:nvSpPr>
            <p:cNvPr id="20" name="Rectangle 2">
              <a:extLst>
                <a:ext uri="{FF2B5EF4-FFF2-40B4-BE49-F238E27FC236}">
                  <a16:creationId xmlns:a16="http://schemas.microsoft.com/office/drawing/2014/main" id="{CE053A70-4224-401A-B03E-9A5DEAD5A197}"/>
                </a:ext>
              </a:extLst>
            </p:cNvPr>
            <p:cNvSpPr/>
            <p:nvPr userDrawn="1"/>
          </p:nvSpPr>
          <p:spPr bwMode="auto">
            <a:xfrm>
              <a:off x="11180725" y="6524624"/>
              <a:ext cx="559595" cy="333376"/>
            </a:xfrm>
            <a:custGeom>
              <a:avLst/>
              <a:gdLst>
                <a:gd name="connsiteX0" fmla="*/ 0 w 788194"/>
                <a:gd name="connsiteY0" fmla="*/ 0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0 w 788194"/>
                <a:gd name="connsiteY4" fmla="*/ 0 h 564356"/>
                <a:gd name="connsiteX0" fmla="*/ 276225 w 788194"/>
                <a:gd name="connsiteY0" fmla="*/ 228600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276225 w 788194"/>
                <a:gd name="connsiteY4" fmla="*/ 228600 h 564356"/>
                <a:gd name="connsiteX0" fmla="*/ 385763 w 788194"/>
                <a:gd name="connsiteY0" fmla="*/ 411957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385763 w 788194"/>
                <a:gd name="connsiteY4" fmla="*/ 411957 h 564356"/>
                <a:gd name="connsiteX0" fmla="*/ 328613 w 788194"/>
                <a:gd name="connsiteY0" fmla="*/ 328613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4" fmla="*/ 328613 w 788194"/>
                <a:gd name="connsiteY4" fmla="*/ 328613 h 564356"/>
                <a:gd name="connsiteX0" fmla="*/ 0 w 788194"/>
                <a:gd name="connsiteY0" fmla="*/ 564356 h 564356"/>
                <a:gd name="connsiteX1" fmla="*/ 788194 w 788194"/>
                <a:gd name="connsiteY1" fmla="*/ 0 h 564356"/>
                <a:gd name="connsiteX2" fmla="*/ 788194 w 788194"/>
                <a:gd name="connsiteY2" fmla="*/ 564356 h 564356"/>
                <a:gd name="connsiteX3" fmla="*/ 0 w 788194"/>
                <a:gd name="connsiteY3" fmla="*/ 564356 h 564356"/>
                <a:gd name="connsiteX0" fmla="*/ 0 w 1114426"/>
                <a:gd name="connsiteY0" fmla="*/ 230981 h 230981"/>
                <a:gd name="connsiteX1" fmla="*/ 1114426 w 1114426"/>
                <a:gd name="connsiteY1" fmla="*/ 0 h 230981"/>
                <a:gd name="connsiteX2" fmla="*/ 788194 w 1114426"/>
                <a:gd name="connsiteY2" fmla="*/ 230981 h 230981"/>
                <a:gd name="connsiteX3" fmla="*/ 0 w 1114426"/>
                <a:gd name="connsiteY3" fmla="*/ 230981 h 230981"/>
                <a:gd name="connsiteX0" fmla="*/ 0 w 559595"/>
                <a:gd name="connsiteY0" fmla="*/ 0 h 326232"/>
                <a:gd name="connsiteX1" fmla="*/ 559595 w 559595"/>
                <a:gd name="connsiteY1" fmla="*/ 95251 h 326232"/>
                <a:gd name="connsiteX2" fmla="*/ 233363 w 559595"/>
                <a:gd name="connsiteY2" fmla="*/ 326232 h 326232"/>
                <a:gd name="connsiteX3" fmla="*/ 0 w 559595"/>
                <a:gd name="connsiteY3" fmla="*/ 0 h 326232"/>
                <a:gd name="connsiteX0" fmla="*/ 0 w 559595"/>
                <a:gd name="connsiteY0" fmla="*/ 0 h 342901"/>
                <a:gd name="connsiteX1" fmla="*/ 559595 w 559595"/>
                <a:gd name="connsiteY1" fmla="*/ 95251 h 342901"/>
                <a:gd name="connsiteX2" fmla="*/ 214313 w 559595"/>
                <a:gd name="connsiteY2" fmla="*/ 342901 h 342901"/>
                <a:gd name="connsiteX3" fmla="*/ 0 w 559595"/>
                <a:gd name="connsiteY3" fmla="*/ 0 h 342901"/>
                <a:gd name="connsiteX0" fmla="*/ 0 w 559595"/>
                <a:gd name="connsiteY0" fmla="*/ 0 h 333376"/>
                <a:gd name="connsiteX1" fmla="*/ 559595 w 559595"/>
                <a:gd name="connsiteY1" fmla="*/ 95251 h 333376"/>
                <a:gd name="connsiteX2" fmla="*/ 223838 w 559595"/>
                <a:gd name="connsiteY2" fmla="*/ 333376 h 333376"/>
                <a:gd name="connsiteX3" fmla="*/ 0 w 559595"/>
                <a:gd name="connsiteY3" fmla="*/ 0 h 333376"/>
                <a:gd name="connsiteX0" fmla="*/ 0 w 559595"/>
                <a:gd name="connsiteY0" fmla="*/ 0 h 333376"/>
                <a:gd name="connsiteX1" fmla="*/ 559595 w 559595"/>
                <a:gd name="connsiteY1" fmla="*/ 95251 h 333376"/>
                <a:gd name="connsiteX2" fmla="*/ 223838 w 559595"/>
                <a:gd name="connsiteY2" fmla="*/ 333376 h 333376"/>
                <a:gd name="connsiteX3" fmla="*/ 0 w 559595"/>
                <a:gd name="connsiteY3" fmla="*/ 0 h 33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9595" h="333376">
                  <a:moveTo>
                    <a:pt x="0" y="0"/>
                  </a:moveTo>
                  <a:lnTo>
                    <a:pt x="559595" y="95251"/>
                  </a:lnTo>
                  <a:lnTo>
                    <a:pt x="223838" y="333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AB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endParaRPr>
            </a:p>
          </p:txBody>
        </p:sp>
      </p:grp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358230" y="361607"/>
            <a:ext cx="11459013" cy="43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15005" y="6466165"/>
            <a:ext cx="3945465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67">
                <a:solidFill>
                  <a:srgbClr val="7C7C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Larsen &amp; Toubro Infotech Ltd. Privileged and Confidential</a:t>
            </a:r>
          </a:p>
        </p:txBody>
      </p:sp>
      <p:pic>
        <p:nvPicPr>
          <p:cNvPr id="3" name="Picture 2" descr="C:\Users\10630824\Desktop\Microot template\LTI logo (2).png">
            <a:extLst>
              <a:ext uri="{FF2B5EF4-FFF2-40B4-BE49-F238E27FC236}">
                <a16:creationId xmlns:a16="http://schemas.microsoft.com/office/drawing/2014/main" id="{73EB72C5-92F6-4FA0-ABF4-9A8E652FBE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136" y="6523809"/>
            <a:ext cx="470187" cy="274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579FE06-222A-47F4-8648-C6879BC569FD}"/>
              </a:ext>
            </a:extLst>
          </p:cNvPr>
          <p:cNvGrpSpPr/>
          <p:nvPr userDrawn="1"/>
        </p:nvGrpSpPr>
        <p:grpSpPr>
          <a:xfrm rot="16200000">
            <a:off x="-113631" y="436687"/>
            <a:ext cx="512961" cy="280727"/>
            <a:chOff x="39695" y="453173"/>
            <a:chExt cx="219075" cy="28072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E8F7C20-E306-4FB5-9BC7-ED6E07FCF75E}"/>
                </a:ext>
              </a:extLst>
            </p:cNvPr>
            <p:cNvSpPr/>
            <p:nvPr userDrawn="1"/>
          </p:nvSpPr>
          <p:spPr>
            <a:xfrm>
              <a:off x="39695" y="453173"/>
              <a:ext cx="219075" cy="223102"/>
            </a:xfrm>
            <a:prstGeom prst="rect">
              <a:avLst/>
            </a:prstGeom>
            <a:solidFill>
              <a:srgbClr val="2C2E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59E5DE1-7010-489F-A8BA-90481855AF49}"/>
                </a:ext>
              </a:extLst>
            </p:cNvPr>
            <p:cNvSpPr/>
            <p:nvPr userDrawn="1"/>
          </p:nvSpPr>
          <p:spPr>
            <a:xfrm>
              <a:off x="39695" y="688180"/>
              <a:ext cx="219075" cy="45719"/>
            </a:xfrm>
            <a:prstGeom prst="rect">
              <a:avLst/>
            </a:prstGeom>
            <a:solidFill>
              <a:srgbClr val="F588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9E4943DB-DA2C-47C1-852E-4521038F36F5}"/>
              </a:ext>
            </a:extLst>
          </p:cNvPr>
          <p:cNvSpPr/>
          <p:nvPr userDrawn="1"/>
        </p:nvSpPr>
        <p:spPr>
          <a:xfrm>
            <a:off x="11752551" y="6491881"/>
            <a:ext cx="3962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051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5433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2400" b="1" i="0" baseline="0" dirty="0">
          <a:solidFill>
            <a:srgbClr val="2C2D8B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519475" algn="l" rtl="0" eaLnBrk="0" fontAlgn="base" hangingPunct="0">
        <a:spcBef>
          <a:spcPct val="0"/>
        </a:spcBef>
        <a:spcAft>
          <a:spcPct val="0"/>
        </a:spcAft>
        <a:defRPr sz="2667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1038951" algn="l" rtl="0" eaLnBrk="0" fontAlgn="base" hangingPunct="0">
        <a:spcBef>
          <a:spcPct val="0"/>
        </a:spcBef>
        <a:spcAft>
          <a:spcPct val="0"/>
        </a:spcAft>
        <a:defRPr sz="2667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558426" algn="l" rtl="0" eaLnBrk="0" fontAlgn="base" hangingPunct="0">
        <a:spcBef>
          <a:spcPct val="0"/>
        </a:spcBef>
        <a:spcAft>
          <a:spcPct val="0"/>
        </a:spcAft>
        <a:defRPr sz="2667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2077900" algn="l" rtl="0" eaLnBrk="0" fontAlgn="base" hangingPunct="0">
        <a:spcBef>
          <a:spcPct val="0"/>
        </a:spcBef>
        <a:spcAft>
          <a:spcPct val="0"/>
        </a:spcAft>
        <a:defRPr sz="2667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94803" indent="-194803" algn="l" defTabSz="2088724" rtl="0" eaLnBrk="0" fontAlgn="base" hangingPunct="0">
        <a:spcBef>
          <a:spcPct val="75000"/>
        </a:spcBef>
        <a:spcAft>
          <a:spcPct val="0"/>
        </a:spcAft>
        <a:buClrTx/>
        <a:buFont typeface="Wingdings" charset="2"/>
        <a:buChar char="§"/>
        <a:defRPr sz="2133" b="0" i="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391412" indent="-194803" algn="l" defTabSz="2088724" rtl="0" eaLnBrk="0" fontAlgn="base" hangingPunct="0">
        <a:spcBef>
          <a:spcPct val="25000"/>
        </a:spcBef>
        <a:spcAft>
          <a:spcPct val="0"/>
        </a:spcAft>
        <a:buClrTx/>
        <a:buSzPct val="80000"/>
        <a:buFont typeface="Wingdings" charset="2"/>
        <a:buChar char="§"/>
        <a:defRPr sz="2133" b="0" i="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588017" indent="-194803" algn="l" defTabSz="2088724" rtl="0" eaLnBrk="0" fontAlgn="base" hangingPunct="0">
        <a:spcBef>
          <a:spcPct val="25000"/>
        </a:spcBef>
        <a:spcAft>
          <a:spcPct val="0"/>
        </a:spcAft>
        <a:buClrTx/>
        <a:buSzPct val="70000"/>
        <a:buFont typeface="Wingdings" charset="2"/>
        <a:buChar char="§"/>
        <a:defRPr sz="2133" b="0" i="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779214" indent="-189394" algn="l" defTabSz="2088724" rtl="0" eaLnBrk="0" fontAlgn="base" hangingPunct="0">
        <a:spcBef>
          <a:spcPct val="25000"/>
        </a:spcBef>
        <a:spcAft>
          <a:spcPct val="0"/>
        </a:spcAft>
        <a:buClrTx/>
        <a:buFont typeface="Arial"/>
        <a:buChar char="•"/>
        <a:defRPr sz="2133" b="0" i="0">
          <a:solidFill>
            <a:srgbClr val="000000"/>
          </a:solidFill>
          <a:latin typeface="Calibri Light"/>
          <a:ea typeface="+mn-ea"/>
          <a:cs typeface="Calibri Light"/>
        </a:defRPr>
      </a:lvl4pPr>
      <a:lvl5pPr marL="968605" indent="-187589" algn="l" defTabSz="2088724" rtl="0" eaLnBrk="0" fontAlgn="base" hangingPunct="0">
        <a:spcBef>
          <a:spcPct val="25000"/>
        </a:spcBef>
        <a:spcAft>
          <a:spcPct val="0"/>
        </a:spcAft>
        <a:buClrTx/>
        <a:buFont typeface="Arial"/>
        <a:buChar char="•"/>
        <a:defRPr sz="2133" b="0" i="0">
          <a:solidFill>
            <a:srgbClr val="000000"/>
          </a:solidFill>
          <a:latin typeface="Calibri Light"/>
          <a:ea typeface="+mn-ea"/>
          <a:cs typeface="Calibri Light"/>
        </a:defRPr>
      </a:lvl5pPr>
      <a:lvl6pPr marL="1488080" indent="-187589" algn="l" defTabSz="2088724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0">
          <a:solidFill>
            <a:srgbClr val="53565A"/>
          </a:solidFill>
          <a:latin typeface="+mn-lt"/>
          <a:ea typeface="+mn-ea"/>
          <a:cs typeface="+mn-cs"/>
        </a:defRPr>
      </a:lvl6pPr>
      <a:lvl7pPr marL="2007556" indent="-187589" algn="l" defTabSz="2088724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0">
          <a:solidFill>
            <a:srgbClr val="53565A"/>
          </a:solidFill>
          <a:latin typeface="+mn-lt"/>
          <a:ea typeface="+mn-ea"/>
          <a:cs typeface="+mn-cs"/>
        </a:defRPr>
      </a:lvl7pPr>
      <a:lvl8pPr marL="2527031" indent="-187589" algn="l" defTabSz="2088724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0">
          <a:solidFill>
            <a:srgbClr val="53565A"/>
          </a:solidFill>
          <a:latin typeface="+mn-lt"/>
          <a:ea typeface="+mn-ea"/>
          <a:cs typeface="+mn-cs"/>
        </a:defRPr>
      </a:lvl8pPr>
      <a:lvl9pPr marL="3046507" indent="-187589" algn="l" defTabSz="2088724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75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51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26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00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375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851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326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801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3685D-D505-42E6-B2A3-1B26BC793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964" y="369609"/>
            <a:ext cx="11513074" cy="575116"/>
          </a:xfrm>
          <a:prstGeom prst="rect">
            <a:avLst/>
          </a:prstGeom>
        </p:spPr>
        <p:txBody>
          <a:bodyPr vert="horz" lIns="0" tIns="36000" rIns="0" bIns="3600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20300D-8B9D-444F-97B8-8F7D7E3A37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3964" y="1282760"/>
            <a:ext cx="11513074" cy="50989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04E6E1E-7055-8D1B-4C37-9DCF88F218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7" name="Text Box 1073742684">
            <a:extLst>
              <a:ext uri="{FF2B5EF4-FFF2-40B4-BE49-F238E27FC236}">
                <a16:creationId xmlns:a16="http://schemas.microsoft.com/office/drawing/2014/main" id="{CB09C83E-2E41-0B4B-7535-36A14EDE4624}"/>
              </a:ext>
            </a:extLst>
          </p:cNvPr>
          <p:cNvSpPr txBox="1"/>
          <p:nvPr userDrawn="1"/>
        </p:nvSpPr>
        <p:spPr>
          <a:xfrm>
            <a:off x="4620260" y="3278188"/>
            <a:ext cx="2951480" cy="30162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IN" sz="1000">
              <a:solidFill>
                <a:srgbClr val="595959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0561BA-C7F5-9336-C8B6-9C52C6E480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8" t="16652" r="5017" b="14298"/>
          <a:stretch/>
        </p:blipFill>
        <p:spPr>
          <a:xfrm>
            <a:off x="334963" y="6489701"/>
            <a:ext cx="1332545" cy="2899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A77B5-E638-94AC-7947-1D6B464CD99C}"/>
              </a:ext>
            </a:extLst>
          </p:cNvPr>
          <p:cNvSpPr txBox="1"/>
          <p:nvPr userDrawn="1"/>
        </p:nvSpPr>
        <p:spPr>
          <a:xfrm>
            <a:off x="3048000" y="6425185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dirty="0">
                <a:solidFill>
                  <a:srgbClr val="97A0A4"/>
                </a:solidFill>
                <a:effectLst/>
                <a:latin typeface="Frutiger LT Pro 45 Light" panose="020B0403030504020204" pitchFamily="34" charset="77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3</a:t>
            </a:r>
            <a:endParaRPr lang="en-IN" sz="1000" dirty="0">
              <a:solidFill>
                <a:srgbClr val="595959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A8E25155-36CD-A39A-FE59-134C053D5E5B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97A0A4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97A0A4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3142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18" r:id="rId26"/>
    <p:sldLayoutId id="2147483819" r:id="rId27"/>
    <p:sldLayoutId id="2147483820" r:id="rId28"/>
    <p:sldLayoutId id="2147483821" r:id="rId29"/>
    <p:sldLayoutId id="2147483822" r:id="rId30"/>
    <p:sldLayoutId id="2147483823" r:id="rId31"/>
    <p:sldLayoutId id="2147483824" r:id="rId32"/>
    <p:sldLayoutId id="2147483825" r:id="rId33"/>
    <p:sldLayoutId id="2147483826" r:id="rId34"/>
    <p:sldLayoutId id="2147483827" r:id="rId35"/>
    <p:sldLayoutId id="2147483828" r:id="rId36"/>
    <p:sldLayoutId id="2147483829" r:id="rId37"/>
    <p:sldLayoutId id="2147483830" r:id="rId38"/>
    <p:sldLayoutId id="2147483831" r:id="rId39"/>
    <p:sldLayoutId id="2147483832" r:id="rId40"/>
    <p:sldLayoutId id="2147483833" r:id="rId41"/>
    <p:sldLayoutId id="2147483834" r:id="rId42"/>
    <p:sldLayoutId id="2147483835" r:id="rId43"/>
    <p:sldLayoutId id="2147483836" r:id="rId44"/>
    <p:sldLayoutId id="2147483837" r:id="rId45"/>
    <p:sldLayoutId id="2147483838" r:id="rId4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04B88"/>
          </a:solidFill>
          <a:latin typeface="Frutiger LT Pro 55 Roman" panose="020B0602020204020204" pitchFamily="34" charset="77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rgbClr val="0088CE"/>
        </a:buClr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Frutiger LT Pro 55 Roman" panose="020B0602020204020204" pitchFamily="34" charset="77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8CE"/>
        </a:buClr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Frutiger LT Pro 55 Roman" panose="020B0602020204020204" pitchFamily="34" charset="77"/>
          <a:ea typeface="+mn-ea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8CE"/>
        </a:buClr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Frutiger LT Pro 55 Roman" panose="020B0602020204020204" pitchFamily="34" charset="77"/>
          <a:ea typeface="+mn-ea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8CE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Frutiger LT Pro 55 Roman" panose="020B0602020204020204" pitchFamily="34" charset="77"/>
          <a:ea typeface="+mn-ea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8CE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Frutiger LT Pro 55 Roman" panose="020B0602020204020204" pitchFamily="34" charset="77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4088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799">
          <p15:clr>
            <a:srgbClr val="F26B43"/>
          </p15:clr>
        </p15:guide>
        <p15:guide id="9" orient="horz" pos="4269">
          <p15:clr>
            <a:srgbClr val="F26B43"/>
          </p15:clr>
        </p15:guide>
        <p15:guide id="10" orient="horz" pos="59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3685D-D505-42E6-B2A3-1B26BC793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85" y="365125"/>
            <a:ext cx="108857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20300D-8B9D-444F-97B8-8F7D7E3A37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085" y="1825625"/>
            <a:ext cx="10885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EDB723-1905-4E83-9D47-D0B5CFAA7945}"/>
              </a:ext>
            </a:extLst>
          </p:cNvPr>
          <p:cNvSpPr txBox="1"/>
          <p:nvPr userDrawn="1"/>
        </p:nvSpPr>
        <p:spPr>
          <a:xfrm>
            <a:off x="3144520" y="6478192"/>
            <a:ext cx="5999480" cy="249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7A0A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LTIMindtree | Privileged and Confidential 2025</a:t>
            </a:r>
            <a:endParaRPr kumimoji="0" lang="en-IN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04E6E1E-7055-8D1B-4C37-9DCF88F218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03624" y="90102"/>
            <a:ext cx="1847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F171322-9733-781D-E8F0-A4A2852E8C0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9246" y="6448698"/>
            <a:ext cx="1167615" cy="329551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BFAADE7-DDFF-BF0A-D366-76DAC73818AA}"/>
              </a:ext>
            </a:extLst>
          </p:cNvPr>
          <p:cNvCxnSpPr>
            <a:cxnSpLocks/>
          </p:cNvCxnSpPr>
          <p:nvPr userDrawn="1"/>
        </p:nvCxnSpPr>
        <p:spPr>
          <a:xfrm>
            <a:off x="1327335" y="6515214"/>
            <a:ext cx="0" cy="207949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3F00A9D-A8B8-46B2-1BF7-7E8FF6AC3B0C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18593" y="6530728"/>
            <a:ext cx="909784" cy="160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457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3685D-D505-42E6-B2A3-1B26BC793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85" y="365125"/>
            <a:ext cx="108857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20300D-8B9D-444F-97B8-8F7D7E3A37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085" y="1825625"/>
            <a:ext cx="10885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EDB723-1905-4E83-9D47-D0B5CFAA7945}"/>
              </a:ext>
            </a:extLst>
          </p:cNvPr>
          <p:cNvSpPr txBox="1"/>
          <p:nvPr userDrawn="1"/>
        </p:nvSpPr>
        <p:spPr>
          <a:xfrm>
            <a:off x="3144520" y="6478192"/>
            <a:ext cx="5999480" cy="249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dirty="0">
                <a:solidFill>
                  <a:srgbClr val="97A0A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LTIMindtree | Privileged and Confidential 2025</a:t>
            </a:r>
            <a:endParaRPr lang="en-IN" sz="1000" dirty="0">
              <a:solidFill>
                <a:srgbClr val="595959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04E6E1E-7055-8D1B-4C37-9DCF88F218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03624" y="90102"/>
            <a:ext cx="1847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20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F171322-9733-781D-E8F0-A4A2852E8C0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9246" y="6448698"/>
            <a:ext cx="1167615" cy="329551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BFAADE7-DDFF-BF0A-D366-76DAC73818AA}"/>
              </a:ext>
            </a:extLst>
          </p:cNvPr>
          <p:cNvCxnSpPr>
            <a:cxnSpLocks/>
          </p:cNvCxnSpPr>
          <p:nvPr userDrawn="1"/>
        </p:nvCxnSpPr>
        <p:spPr>
          <a:xfrm>
            <a:off x="1327335" y="6515214"/>
            <a:ext cx="0" cy="207949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3F00A9D-A8B8-46B2-1BF7-7E8FF6AC3B0C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18593" y="6530728"/>
            <a:ext cx="909784" cy="160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005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png"/><Relationship Id="rId18" Type="http://schemas.openxmlformats.org/officeDocument/2006/relationships/image" Target="../media/image131.png"/><Relationship Id="rId26" Type="http://schemas.openxmlformats.org/officeDocument/2006/relationships/image" Target="../media/image138.png"/><Relationship Id="rId3" Type="http://schemas.openxmlformats.org/officeDocument/2006/relationships/slideLayout" Target="../slideLayouts/slideLayout78.xml"/><Relationship Id="rId21" Type="http://schemas.openxmlformats.org/officeDocument/2006/relationships/hyperlink" Target="https://bfslab.ltimindtree.info/wp-login.php" TargetMode="External"/><Relationship Id="rId7" Type="http://schemas.openxmlformats.org/officeDocument/2006/relationships/image" Target="../media/image120.png"/><Relationship Id="rId12" Type="http://schemas.openxmlformats.org/officeDocument/2006/relationships/image" Target="../media/image125.png"/><Relationship Id="rId17" Type="http://schemas.openxmlformats.org/officeDocument/2006/relationships/image" Target="../media/image130.png"/><Relationship Id="rId25" Type="http://schemas.openxmlformats.org/officeDocument/2006/relationships/image" Target="../media/image137.png"/><Relationship Id="rId2" Type="http://schemas.openxmlformats.org/officeDocument/2006/relationships/tags" Target="../tags/tag52.xml"/><Relationship Id="rId16" Type="http://schemas.openxmlformats.org/officeDocument/2006/relationships/image" Target="../media/image129.png"/><Relationship Id="rId20" Type="http://schemas.openxmlformats.org/officeDocument/2006/relationships/image" Target="../media/image133.png"/><Relationship Id="rId1" Type="http://schemas.openxmlformats.org/officeDocument/2006/relationships/tags" Target="../tags/tag51.xml"/><Relationship Id="rId6" Type="http://schemas.openxmlformats.org/officeDocument/2006/relationships/image" Target="../media/image119.png"/><Relationship Id="rId11" Type="http://schemas.openxmlformats.org/officeDocument/2006/relationships/image" Target="../media/image124.png"/><Relationship Id="rId24" Type="http://schemas.openxmlformats.org/officeDocument/2006/relationships/image" Target="../media/image136.png"/><Relationship Id="rId5" Type="http://schemas.openxmlformats.org/officeDocument/2006/relationships/image" Target="../media/image118.png"/><Relationship Id="rId15" Type="http://schemas.openxmlformats.org/officeDocument/2006/relationships/image" Target="../media/image128.png"/><Relationship Id="rId23" Type="http://schemas.openxmlformats.org/officeDocument/2006/relationships/image" Target="../media/image135.png"/><Relationship Id="rId10" Type="http://schemas.openxmlformats.org/officeDocument/2006/relationships/image" Target="../media/image123.png"/><Relationship Id="rId19" Type="http://schemas.openxmlformats.org/officeDocument/2006/relationships/image" Target="../media/image132.png"/><Relationship Id="rId4" Type="http://schemas.openxmlformats.org/officeDocument/2006/relationships/image" Target="../media/image117.png"/><Relationship Id="rId9" Type="http://schemas.openxmlformats.org/officeDocument/2006/relationships/image" Target="../media/image122.png"/><Relationship Id="rId14" Type="http://schemas.openxmlformats.org/officeDocument/2006/relationships/image" Target="../media/image127.png"/><Relationship Id="rId22" Type="http://schemas.openxmlformats.org/officeDocument/2006/relationships/image" Target="../media/image134.png"/><Relationship Id="rId27" Type="http://schemas.openxmlformats.org/officeDocument/2006/relationships/image" Target="../media/image13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3" Type="http://schemas.openxmlformats.org/officeDocument/2006/relationships/image" Target="../media/image140.png"/><Relationship Id="rId7" Type="http://schemas.openxmlformats.org/officeDocument/2006/relationships/image" Target="../media/image144.png"/><Relationship Id="rId2" Type="http://schemas.openxmlformats.org/officeDocument/2006/relationships/slideLayout" Target="../slideLayouts/slideLayout78.xml"/><Relationship Id="rId1" Type="http://schemas.openxmlformats.org/officeDocument/2006/relationships/tags" Target="../tags/tag53.xml"/><Relationship Id="rId6" Type="http://schemas.openxmlformats.org/officeDocument/2006/relationships/image" Target="../media/image143.png"/><Relationship Id="rId5" Type="http://schemas.openxmlformats.org/officeDocument/2006/relationships/image" Target="../media/image142.png"/><Relationship Id="rId4" Type="http://schemas.openxmlformats.org/officeDocument/2006/relationships/image" Target="../media/image14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149.png"/><Relationship Id="rId4" Type="http://schemas.openxmlformats.org/officeDocument/2006/relationships/image" Target="../media/image14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6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159.png"/><Relationship Id="rId18" Type="http://schemas.openxmlformats.org/officeDocument/2006/relationships/image" Target="../media/image105.png"/><Relationship Id="rId3" Type="http://schemas.openxmlformats.org/officeDocument/2006/relationships/image" Target="../media/image151.svg"/><Relationship Id="rId21" Type="http://schemas.openxmlformats.org/officeDocument/2006/relationships/image" Target="../media/image162.png"/><Relationship Id="rId7" Type="http://schemas.openxmlformats.org/officeDocument/2006/relationships/image" Target="../media/image155.png"/><Relationship Id="rId12" Type="http://schemas.openxmlformats.org/officeDocument/2006/relationships/image" Target="../media/image136.png"/><Relationship Id="rId17" Type="http://schemas.openxmlformats.org/officeDocument/2006/relationships/image" Target="../media/image104.png"/><Relationship Id="rId2" Type="http://schemas.openxmlformats.org/officeDocument/2006/relationships/image" Target="../media/image150.png"/><Relationship Id="rId16" Type="http://schemas.openxmlformats.org/officeDocument/2006/relationships/image" Target="../media/image75.png"/><Relationship Id="rId20" Type="http://schemas.openxmlformats.org/officeDocument/2006/relationships/image" Target="../media/image161.jpe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154.png"/><Relationship Id="rId11" Type="http://schemas.openxmlformats.org/officeDocument/2006/relationships/image" Target="../media/image158.png"/><Relationship Id="rId5" Type="http://schemas.openxmlformats.org/officeDocument/2006/relationships/image" Target="../media/image153.png"/><Relationship Id="rId15" Type="http://schemas.openxmlformats.org/officeDocument/2006/relationships/image" Target="../media/image74.jpeg"/><Relationship Id="rId23" Type="http://schemas.openxmlformats.org/officeDocument/2006/relationships/image" Target="../media/image91.png"/><Relationship Id="rId10" Type="http://schemas.openxmlformats.org/officeDocument/2006/relationships/image" Target="../media/image157.png"/><Relationship Id="rId19" Type="http://schemas.openxmlformats.org/officeDocument/2006/relationships/image" Target="../media/image89.png"/><Relationship Id="rId4" Type="http://schemas.openxmlformats.org/officeDocument/2006/relationships/image" Target="../media/image152.png"/><Relationship Id="rId9" Type="http://schemas.openxmlformats.org/officeDocument/2006/relationships/image" Target="../media/image156.jpeg"/><Relationship Id="rId14" Type="http://schemas.openxmlformats.org/officeDocument/2006/relationships/image" Target="../media/image160.jpeg"/><Relationship Id="rId22" Type="http://schemas.openxmlformats.org/officeDocument/2006/relationships/image" Target="../media/image9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jpeg"/><Relationship Id="rId3" Type="http://schemas.openxmlformats.org/officeDocument/2006/relationships/image" Target="../media/image25.jpeg"/><Relationship Id="rId7" Type="http://schemas.openxmlformats.org/officeDocument/2006/relationships/image" Target="../media/image28.jpeg"/><Relationship Id="rId12" Type="http://schemas.openxmlformats.org/officeDocument/2006/relationships/image" Target="../media/image33.jpeg"/><Relationship Id="rId17" Type="http://schemas.openxmlformats.org/officeDocument/2006/relationships/image" Target="../media/image38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7.jpe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27.jpeg"/><Relationship Id="rId11" Type="http://schemas.openxmlformats.org/officeDocument/2006/relationships/image" Target="../media/image32.jpeg"/><Relationship Id="rId5" Type="http://schemas.microsoft.com/office/2007/relationships/hdphoto" Target="../media/hdphoto1.wdp"/><Relationship Id="rId15" Type="http://schemas.openxmlformats.org/officeDocument/2006/relationships/image" Target="../media/image36.jpeg"/><Relationship Id="rId10" Type="http://schemas.openxmlformats.org/officeDocument/2006/relationships/image" Target="../media/image31.jpeg"/><Relationship Id="rId4" Type="http://schemas.openxmlformats.org/officeDocument/2006/relationships/image" Target="../media/image26.png"/><Relationship Id="rId9" Type="http://schemas.openxmlformats.org/officeDocument/2006/relationships/image" Target="../media/image30.jpeg"/><Relationship Id="rId14" Type="http://schemas.openxmlformats.org/officeDocument/2006/relationships/image" Target="../media/image35.jpe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notesSlide" Target="../notesSlides/notesSlide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image" Target="../media/image40.pn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image" Target="../media/image39.png"/><Relationship Id="rId45" Type="http://schemas.openxmlformats.org/officeDocument/2006/relationships/image" Target="../media/image43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image" Target="../media/image42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image" Target="../media/image41.png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slideLayout" Target="../slideLayouts/slideLayout78.xml"/><Relationship Id="rId46" Type="http://schemas.openxmlformats.org/officeDocument/2006/relationships/image" Target="../media/image44.png"/><Relationship Id="rId20" Type="http://schemas.openxmlformats.org/officeDocument/2006/relationships/tags" Target="../tags/tag20.xml"/><Relationship Id="rId41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5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50.xml"/><Relationship Id="rId18" Type="http://schemas.openxmlformats.org/officeDocument/2006/relationships/image" Target="../media/image52.png"/><Relationship Id="rId26" Type="http://schemas.openxmlformats.org/officeDocument/2006/relationships/image" Target="../media/image60.jpeg"/><Relationship Id="rId39" Type="http://schemas.openxmlformats.org/officeDocument/2006/relationships/image" Target="../media/image73.png"/><Relationship Id="rId21" Type="http://schemas.openxmlformats.org/officeDocument/2006/relationships/image" Target="../media/image55.jpeg"/><Relationship Id="rId34" Type="http://schemas.openxmlformats.org/officeDocument/2006/relationships/image" Target="../media/image68.png"/><Relationship Id="rId42" Type="http://schemas.openxmlformats.org/officeDocument/2006/relationships/image" Target="../media/image76.png"/><Relationship Id="rId47" Type="http://schemas.openxmlformats.org/officeDocument/2006/relationships/image" Target="../media/image81.png"/><Relationship Id="rId50" Type="http://schemas.openxmlformats.org/officeDocument/2006/relationships/image" Target="../media/image84.png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6" Type="http://schemas.openxmlformats.org/officeDocument/2006/relationships/image" Target="../media/image50.png"/><Relationship Id="rId29" Type="http://schemas.openxmlformats.org/officeDocument/2006/relationships/image" Target="../media/image63.jpeg"/><Relationship Id="rId11" Type="http://schemas.openxmlformats.org/officeDocument/2006/relationships/tags" Target="../tags/tag48.xml"/><Relationship Id="rId24" Type="http://schemas.openxmlformats.org/officeDocument/2006/relationships/image" Target="../media/image58.jpeg"/><Relationship Id="rId32" Type="http://schemas.openxmlformats.org/officeDocument/2006/relationships/image" Target="../media/image66.png"/><Relationship Id="rId37" Type="http://schemas.openxmlformats.org/officeDocument/2006/relationships/image" Target="../media/image71.png"/><Relationship Id="rId40" Type="http://schemas.openxmlformats.org/officeDocument/2006/relationships/image" Target="../media/image74.jpeg"/><Relationship Id="rId45" Type="http://schemas.openxmlformats.org/officeDocument/2006/relationships/image" Target="../media/image79.png"/><Relationship Id="rId5" Type="http://schemas.openxmlformats.org/officeDocument/2006/relationships/tags" Target="../tags/tag42.xml"/><Relationship Id="rId15" Type="http://schemas.openxmlformats.org/officeDocument/2006/relationships/notesSlide" Target="../notesSlides/notesSlide5.xml"/><Relationship Id="rId23" Type="http://schemas.openxmlformats.org/officeDocument/2006/relationships/image" Target="../media/image57.jpeg"/><Relationship Id="rId28" Type="http://schemas.openxmlformats.org/officeDocument/2006/relationships/image" Target="../media/image62.png"/><Relationship Id="rId36" Type="http://schemas.openxmlformats.org/officeDocument/2006/relationships/image" Target="../media/image70.png"/><Relationship Id="rId49" Type="http://schemas.openxmlformats.org/officeDocument/2006/relationships/image" Target="../media/image83.png"/><Relationship Id="rId10" Type="http://schemas.openxmlformats.org/officeDocument/2006/relationships/tags" Target="../tags/tag47.xml"/><Relationship Id="rId19" Type="http://schemas.openxmlformats.org/officeDocument/2006/relationships/image" Target="../media/image53.png"/><Relationship Id="rId31" Type="http://schemas.openxmlformats.org/officeDocument/2006/relationships/image" Target="../media/image65.png"/><Relationship Id="rId44" Type="http://schemas.openxmlformats.org/officeDocument/2006/relationships/image" Target="../media/image78.png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slideLayout" Target="../slideLayouts/slideLayout78.xml"/><Relationship Id="rId22" Type="http://schemas.openxmlformats.org/officeDocument/2006/relationships/image" Target="../media/image56.jpeg"/><Relationship Id="rId27" Type="http://schemas.openxmlformats.org/officeDocument/2006/relationships/image" Target="../media/image61.png"/><Relationship Id="rId30" Type="http://schemas.openxmlformats.org/officeDocument/2006/relationships/image" Target="../media/image64.png"/><Relationship Id="rId35" Type="http://schemas.openxmlformats.org/officeDocument/2006/relationships/image" Target="../media/image69.png"/><Relationship Id="rId43" Type="http://schemas.openxmlformats.org/officeDocument/2006/relationships/image" Target="../media/image77.png"/><Relationship Id="rId48" Type="http://schemas.openxmlformats.org/officeDocument/2006/relationships/image" Target="../media/image82.jpeg"/><Relationship Id="rId8" Type="http://schemas.openxmlformats.org/officeDocument/2006/relationships/tags" Target="../tags/tag45.xml"/><Relationship Id="rId51" Type="http://schemas.openxmlformats.org/officeDocument/2006/relationships/image" Target="../media/image85.png"/><Relationship Id="rId3" Type="http://schemas.openxmlformats.org/officeDocument/2006/relationships/tags" Target="../tags/tag40.xml"/><Relationship Id="rId12" Type="http://schemas.openxmlformats.org/officeDocument/2006/relationships/tags" Target="../tags/tag49.xml"/><Relationship Id="rId17" Type="http://schemas.openxmlformats.org/officeDocument/2006/relationships/image" Target="../media/image51.png"/><Relationship Id="rId25" Type="http://schemas.openxmlformats.org/officeDocument/2006/relationships/image" Target="../media/image59.jpeg"/><Relationship Id="rId33" Type="http://schemas.openxmlformats.org/officeDocument/2006/relationships/image" Target="../media/image67.png"/><Relationship Id="rId38" Type="http://schemas.openxmlformats.org/officeDocument/2006/relationships/image" Target="../media/image72.png"/><Relationship Id="rId46" Type="http://schemas.openxmlformats.org/officeDocument/2006/relationships/image" Target="../media/image80.jpeg"/><Relationship Id="rId20" Type="http://schemas.openxmlformats.org/officeDocument/2006/relationships/image" Target="../media/image54.png"/><Relationship Id="rId41" Type="http://schemas.openxmlformats.org/officeDocument/2006/relationships/image" Target="../media/image75.png"/><Relationship Id="rId1" Type="http://schemas.openxmlformats.org/officeDocument/2006/relationships/tags" Target="../tags/tag38.xml"/><Relationship Id="rId6" Type="http://schemas.openxmlformats.org/officeDocument/2006/relationships/tags" Target="../tags/tag4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8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81.png"/><Relationship Id="rId3" Type="http://schemas.openxmlformats.org/officeDocument/2006/relationships/image" Target="../media/image89.png"/><Relationship Id="rId7" Type="http://schemas.openxmlformats.org/officeDocument/2006/relationships/image" Target="../media/image92.png"/><Relationship Id="rId12" Type="http://schemas.openxmlformats.org/officeDocument/2006/relationships/image" Target="../media/image74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80.jpe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91.png"/><Relationship Id="rId11" Type="http://schemas.openxmlformats.org/officeDocument/2006/relationships/image" Target="../media/image62.png"/><Relationship Id="rId5" Type="http://schemas.openxmlformats.org/officeDocument/2006/relationships/image" Target="../media/image90.png"/><Relationship Id="rId15" Type="http://schemas.openxmlformats.org/officeDocument/2006/relationships/image" Target="../media/image66.png"/><Relationship Id="rId10" Type="http://schemas.openxmlformats.org/officeDocument/2006/relationships/image" Target="../media/image84.png"/><Relationship Id="rId4" Type="http://schemas.openxmlformats.org/officeDocument/2006/relationships/image" Target="../media/image83.png"/><Relationship Id="rId9" Type="http://schemas.openxmlformats.org/officeDocument/2006/relationships/image" Target="../media/image94.png"/><Relationship Id="rId14" Type="http://schemas.openxmlformats.org/officeDocument/2006/relationships/image" Target="../media/image7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13" Type="http://schemas.openxmlformats.org/officeDocument/2006/relationships/image" Target="../media/image106.png"/><Relationship Id="rId18" Type="http://schemas.openxmlformats.org/officeDocument/2006/relationships/image" Target="../media/image111.png"/><Relationship Id="rId3" Type="http://schemas.openxmlformats.org/officeDocument/2006/relationships/image" Target="../media/image96.png"/><Relationship Id="rId21" Type="http://schemas.openxmlformats.org/officeDocument/2006/relationships/image" Target="../media/image114.png"/><Relationship Id="rId7" Type="http://schemas.openxmlformats.org/officeDocument/2006/relationships/image" Target="../media/image100.png"/><Relationship Id="rId12" Type="http://schemas.openxmlformats.org/officeDocument/2006/relationships/image" Target="../media/image105.png"/><Relationship Id="rId17" Type="http://schemas.openxmlformats.org/officeDocument/2006/relationships/image" Target="../media/image110.png"/><Relationship Id="rId2" Type="http://schemas.openxmlformats.org/officeDocument/2006/relationships/image" Target="../media/image95.png"/><Relationship Id="rId16" Type="http://schemas.openxmlformats.org/officeDocument/2006/relationships/image" Target="../media/image109.png"/><Relationship Id="rId20" Type="http://schemas.openxmlformats.org/officeDocument/2006/relationships/image" Target="../media/image113.pn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99.png"/><Relationship Id="rId11" Type="http://schemas.openxmlformats.org/officeDocument/2006/relationships/image" Target="../media/image104.png"/><Relationship Id="rId5" Type="http://schemas.openxmlformats.org/officeDocument/2006/relationships/image" Target="../media/image98.png"/><Relationship Id="rId15" Type="http://schemas.openxmlformats.org/officeDocument/2006/relationships/image" Target="../media/image108.png"/><Relationship Id="rId23" Type="http://schemas.openxmlformats.org/officeDocument/2006/relationships/image" Target="../media/image116.png"/><Relationship Id="rId10" Type="http://schemas.openxmlformats.org/officeDocument/2006/relationships/image" Target="../media/image103.png"/><Relationship Id="rId19" Type="http://schemas.openxmlformats.org/officeDocument/2006/relationships/image" Target="../media/image112.png"/><Relationship Id="rId4" Type="http://schemas.openxmlformats.org/officeDocument/2006/relationships/image" Target="../media/image97.png"/><Relationship Id="rId9" Type="http://schemas.openxmlformats.org/officeDocument/2006/relationships/image" Target="../media/image102.png"/><Relationship Id="rId14" Type="http://schemas.openxmlformats.org/officeDocument/2006/relationships/image" Target="../media/image107.png"/><Relationship Id="rId22" Type="http://schemas.openxmlformats.org/officeDocument/2006/relationships/image" Target="../media/image1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8878D6-0F24-F30A-8617-383063063CBB}"/>
              </a:ext>
            </a:extLst>
          </p:cNvPr>
          <p:cNvCxnSpPr>
            <a:cxnSpLocks/>
          </p:cNvCxnSpPr>
          <p:nvPr/>
        </p:nvCxnSpPr>
        <p:spPr>
          <a:xfrm flipH="1">
            <a:off x="4863349" y="5664881"/>
            <a:ext cx="3393649" cy="0"/>
          </a:xfrm>
          <a:prstGeom prst="line">
            <a:avLst/>
          </a:prstGeom>
          <a:ln w="19050">
            <a:solidFill>
              <a:schemeClr val="bg1">
                <a:alpha val="21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4">
            <a:extLst>
              <a:ext uri="{FF2B5EF4-FFF2-40B4-BE49-F238E27FC236}">
                <a16:creationId xmlns:a16="http://schemas.microsoft.com/office/drawing/2014/main" id="{CBA18D43-991C-B16B-2C0F-2C49EC4F352A}"/>
              </a:ext>
            </a:extLst>
          </p:cNvPr>
          <p:cNvSpPr txBox="1">
            <a:spLocks/>
          </p:cNvSpPr>
          <p:nvPr/>
        </p:nvSpPr>
        <p:spPr>
          <a:xfrm>
            <a:off x="4728869" y="4494678"/>
            <a:ext cx="5951831" cy="102110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ts val="4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4400" b="0" i="0" u="none" strike="noStrike" cap="none" spc="0" normalizeH="0" baseline="0">
                <a:ln>
                  <a:noFill/>
                </a:ln>
                <a:solidFill>
                  <a:srgbClr val="00AAF6"/>
                </a:solidFill>
                <a:effectLst/>
                <a:uLnTx/>
                <a:uFillTx/>
                <a:ea typeface="Source Sans Pro" panose="020B0503030403020204" pitchFamily="34" charset="0"/>
                <a:cs typeface="Open Sans" panose="020B0606030504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N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cs typeface="Open Sans" panose="020B0606030504020204" pitchFamily="34" charset="0"/>
              </a:rPr>
              <a:t>Delivering  Transformation in Payments</a:t>
            </a:r>
          </a:p>
        </p:txBody>
      </p:sp>
      <p:sp>
        <p:nvSpPr>
          <p:cNvPr id="9" name="Title 14">
            <a:extLst>
              <a:ext uri="{FF2B5EF4-FFF2-40B4-BE49-F238E27FC236}">
                <a16:creationId xmlns:a16="http://schemas.microsoft.com/office/drawing/2014/main" id="{BBB53981-C9EF-7CBC-8E68-D456BEACF66A}"/>
              </a:ext>
            </a:extLst>
          </p:cNvPr>
          <p:cNvSpPr txBox="1">
            <a:spLocks/>
          </p:cNvSpPr>
          <p:nvPr/>
        </p:nvSpPr>
        <p:spPr>
          <a:xfrm>
            <a:off x="4863348" y="5766531"/>
            <a:ext cx="4475949" cy="29745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bg1"/>
                </a:solidFill>
                <a:latin typeface="Trebuchet MS" panose="020B0703020202090204" pitchFamily="34" charset="0"/>
                <a:ea typeface="Trebuchet MS" panose="020B070302020209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cs typeface="Calibri" panose="020F0502020204030204" pitchFamily="34" charset="0"/>
              </a:rPr>
              <a:t>Jun 2025</a:t>
            </a: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cs typeface="Calibri" panose="020F050202020403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909F283-F7CF-3C80-045B-D4091325CD1F}"/>
              </a:ext>
            </a:extLst>
          </p:cNvPr>
          <p:cNvGrpSpPr/>
          <p:nvPr/>
        </p:nvGrpSpPr>
        <p:grpSpPr>
          <a:xfrm>
            <a:off x="8510879" y="1876516"/>
            <a:ext cx="3739515" cy="585856"/>
            <a:chOff x="8615046" y="1922814"/>
            <a:chExt cx="3739514" cy="58585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D40EB8A-E212-150E-D22F-F31868CEC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278836" y="1922814"/>
              <a:ext cx="2075724" cy="585856"/>
            </a:xfrm>
            <a:prstGeom prst="rect">
              <a:avLst/>
            </a:prstGeom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E5B9B71-D4DE-2543-A3ED-A4DFD636B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258567" y="1999981"/>
              <a:ext cx="0" cy="431524"/>
            </a:xfrm>
            <a:prstGeom prst="line">
              <a:avLst/>
            </a:prstGeom>
            <a:ln w="31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5B740DF6-78D6-88B7-973D-E8767F3AF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615046" y="2063734"/>
              <a:ext cx="1550034" cy="2735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75294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5">
            <a:extLst>
              <a:ext uri="{FF2B5EF4-FFF2-40B4-BE49-F238E27FC236}">
                <a16:creationId xmlns:a16="http://schemas.microsoft.com/office/drawing/2014/main" id="{C24A7A2F-2C2B-0F08-D046-F63853840E77}"/>
              </a:ext>
            </a:extLst>
          </p:cNvPr>
          <p:cNvSpPr/>
          <p:nvPr/>
        </p:nvSpPr>
        <p:spPr>
          <a:xfrm>
            <a:off x="7899807" y="1064952"/>
            <a:ext cx="3760059" cy="1759448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39700" dist="38100" dir="5400000" algn="ctr" rotWithShape="0">
              <a:srgbClr val="004B86">
                <a:alpha val="40000"/>
              </a:srgbClr>
            </a:outerShdw>
          </a:effectLst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IN" sz="1600" ker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: Rounded Corners 7">
            <a:extLst>
              <a:ext uri="{FF2B5EF4-FFF2-40B4-BE49-F238E27FC236}">
                <a16:creationId xmlns:a16="http://schemas.microsoft.com/office/drawing/2014/main" id="{15B883D4-6859-DF0D-5F30-618E7BFB1C4F}"/>
              </a:ext>
            </a:extLst>
          </p:cNvPr>
          <p:cNvSpPr/>
          <p:nvPr/>
        </p:nvSpPr>
        <p:spPr>
          <a:xfrm>
            <a:off x="8402200" y="3213833"/>
            <a:ext cx="3213301" cy="1831064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39700" dist="38100" dir="5400000" algn="ctr" rotWithShape="0">
              <a:srgbClr val="004B86">
                <a:alpha val="40000"/>
              </a:srgbClr>
            </a:outerShdw>
          </a:effectLst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IN" ker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: Rounded Corners 8">
            <a:extLst>
              <a:ext uri="{FF2B5EF4-FFF2-40B4-BE49-F238E27FC236}">
                <a16:creationId xmlns:a16="http://schemas.microsoft.com/office/drawing/2014/main" id="{099B7E6C-9CD9-1175-6994-E34C02BC622C}"/>
              </a:ext>
            </a:extLst>
          </p:cNvPr>
          <p:cNvSpPr/>
          <p:nvPr/>
        </p:nvSpPr>
        <p:spPr>
          <a:xfrm>
            <a:off x="1984516" y="5358993"/>
            <a:ext cx="8518384" cy="101892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39700" dist="38100" dir="5400000" algn="ctr" rotWithShape="0">
              <a:srgbClr val="004B86">
                <a:alpha val="40000"/>
              </a:srgbClr>
            </a:outerShdw>
          </a:effectLst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IN" ker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tangle: Rounded Corners 9">
            <a:extLst>
              <a:ext uri="{FF2B5EF4-FFF2-40B4-BE49-F238E27FC236}">
                <a16:creationId xmlns:a16="http://schemas.microsoft.com/office/drawing/2014/main" id="{58296604-4278-435B-1902-7D151C386D66}"/>
              </a:ext>
            </a:extLst>
          </p:cNvPr>
          <p:cNvSpPr/>
          <p:nvPr/>
        </p:nvSpPr>
        <p:spPr>
          <a:xfrm>
            <a:off x="382093" y="3306128"/>
            <a:ext cx="3083562" cy="1547523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52400" dist="38100" dir="18900000" algn="bl" rotWithShape="0">
              <a:srgbClr val="004B86">
                <a:alpha val="40000"/>
              </a:srgbClr>
            </a:outerShdw>
          </a:effectLst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IN" ker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: Rounded Corners 10">
            <a:extLst>
              <a:ext uri="{FF2B5EF4-FFF2-40B4-BE49-F238E27FC236}">
                <a16:creationId xmlns:a16="http://schemas.microsoft.com/office/drawing/2014/main" id="{AEB6F0A9-3459-93DC-47A4-18086633CEEF}"/>
              </a:ext>
            </a:extLst>
          </p:cNvPr>
          <p:cNvSpPr/>
          <p:nvPr/>
        </p:nvSpPr>
        <p:spPr>
          <a:xfrm>
            <a:off x="391064" y="1335013"/>
            <a:ext cx="3328645" cy="1454238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52400" dist="38100" dir="2700000" algn="tl" rotWithShape="0">
              <a:srgbClr val="004B86">
                <a:alpha val="40000"/>
              </a:srgbClr>
            </a:outerShdw>
          </a:effectLst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IN" ker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63A80365-7E29-17BE-5E76-CB98FCA54724}"/>
              </a:ext>
            </a:extLst>
          </p:cNvPr>
          <p:cNvSpPr txBox="1"/>
          <p:nvPr/>
        </p:nvSpPr>
        <p:spPr>
          <a:xfrm>
            <a:off x="6372040" y="1946555"/>
            <a:ext cx="131759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200" b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worldwide labs &amp; Studio  for IP Development</a:t>
            </a:r>
          </a:p>
        </p:txBody>
      </p:sp>
      <p:sp>
        <p:nvSpPr>
          <p:cNvPr id="9" name="TextBox 12">
            <a:extLst>
              <a:ext uri="{FF2B5EF4-FFF2-40B4-BE49-F238E27FC236}">
                <a16:creationId xmlns:a16="http://schemas.microsoft.com/office/drawing/2014/main" id="{72290F55-BD96-0A0D-AA24-EAD24D19B909}"/>
              </a:ext>
            </a:extLst>
          </p:cNvPr>
          <p:cNvSpPr txBox="1"/>
          <p:nvPr/>
        </p:nvSpPr>
        <p:spPr>
          <a:xfrm>
            <a:off x="4535456" y="1703824"/>
            <a:ext cx="131759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200" b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rketplace based API centric solution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61D1D6F-2BE6-458C-517C-6B4C817E979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6615" y="3403720"/>
            <a:ext cx="682115" cy="2280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9A8BE69-92CB-6BF4-D14B-CCCB366E88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41477" y="3441616"/>
            <a:ext cx="673385" cy="201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9">
            <a:extLst>
              <a:ext uri="{FF2B5EF4-FFF2-40B4-BE49-F238E27FC236}">
                <a16:creationId xmlns:a16="http://schemas.microsoft.com/office/drawing/2014/main" id="{4FBAD6E3-D8B7-0DB3-86BA-2134D7C735C5}"/>
              </a:ext>
            </a:extLst>
          </p:cNvPr>
          <p:cNvSpPr txBox="1"/>
          <p:nvPr/>
        </p:nvSpPr>
        <p:spPr>
          <a:xfrm>
            <a:off x="8634701" y="3664662"/>
            <a:ext cx="90204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rg wide Hackathon</a:t>
            </a:r>
          </a:p>
        </p:txBody>
      </p:sp>
      <p:sp>
        <p:nvSpPr>
          <p:cNvPr id="13" name="TextBox 20">
            <a:extLst>
              <a:ext uri="{FF2B5EF4-FFF2-40B4-BE49-F238E27FC236}">
                <a16:creationId xmlns:a16="http://schemas.microsoft.com/office/drawing/2014/main" id="{7949272F-4C2F-C6EB-2A1F-AF90117F5F40}"/>
              </a:ext>
            </a:extLst>
          </p:cNvPr>
          <p:cNvSpPr txBox="1"/>
          <p:nvPr/>
        </p:nvSpPr>
        <p:spPr>
          <a:xfrm>
            <a:off x="9959818" y="3666418"/>
            <a:ext cx="93544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unners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p Position</a:t>
            </a:r>
          </a:p>
        </p:txBody>
      </p:sp>
      <p:sp>
        <p:nvSpPr>
          <p:cNvPr id="14" name="TextBox 21">
            <a:extLst>
              <a:ext uri="{FF2B5EF4-FFF2-40B4-BE49-F238E27FC236}">
                <a16:creationId xmlns:a16="http://schemas.microsoft.com/office/drawing/2014/main" id="{3BBDB82A-4156-FD7E-EBC0-BB6BFEE5FB84}"/>
              </a:ext>
            </a:extLst>
          </p:cNvPr>
          <p:cNvSpPr txBox="1"/>
          <p:nvPr/>
        </p:nvSpPr>
        <p:spPr>
          <a:xfrm>
            <a:off x="9939043" y="4330696"/>
            <a:ext cx="191606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0K BF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novation Challenge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​</a:t>
            </a:r>
          </a:p>
        </p:txBody>
      </p:sp>
      <p:sp>
        <p:nvSpPr>
          <p:cNvPr id="15" name="TextBox 23">
            <a:extLst>
              <a:ext uri="{FF2B5EF4-FFF2-40B4-BE49-F238E27FC236}">
                <a16:creationId xmlns:a16="http://schemas.microsoft.com/office/drawing/2014/main" id="{48B3D6A5-AC6E-809F-C17D-524EA033A052}"/>
              </a:ext>
            </a:extLst>
          </p:cNvPr>
          <p:cNvSpPr txBox="1"/>
          <p:nvPr/>
        </p:nvSpPr>
        <p:spPr>
          <a:xfrm>
            <a:off x="405998" y="1478562"/>
            <a:ext cx="261435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intech Solutions &amp; Ideation Platform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DFC44A8-095C-694E-48E6-C0D08EC44E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7430" y="4354467"/>
            <a:ext cx="572405" cy="31800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30">
            <a:extLst>
              <a:ext uri="{FF2B5EF4-FFF2-40B4-BE49-F238E27FC236}">
                <a16:creationId xmlns:a16="http://schemas.microsoft.com/office/drawing/2014/main" id="{A3C0798D-3DDB-6779-7A45-A1510116773C}"/>
              </a:ext>
            </a:extLst>
          </p:cNvPr>
          <p:cNvSpPr txBox="1"/>
          <p:nvPr/>
        </p:nvSpPr>
        <p:spPr>
          <a:xfrm>
            <a:off x="2114456" y="5532685"/>
            <a:ext cx="1015886" cy="669613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base" latinLnBrk="0" hangingPunct="1">
              <a:lnSpc>
                <a:spcPts val="13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sng" strike="noStrike" kern="1200" cap="none" spc="0" normalizeH="0" baseline="0" noProof="0">
                <a:ln>
                  <a:noFill/>
                </a:ln>
                <a:solidFill>
                  <a:srgbClr val="00249A"/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Sustainability</a:t>
            </a:r>
            <a:r>
              <a:rPr kumimoji="0" lang="en-US" sz="1050" b="1" i="0" u="sng" strike="noStrike" kern="1200" cap="none" spc="0" normalizeH="0" baseline="0" noProof="0">
                <a:ln>
                  <a:noFill/>
                </a:ln>
                <a:solidFill>
                  <a:srgbClr val="00249A"/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 </a:t>
            </a:r>
          </a:p>
          <a:p>
            <a:pPr marL="0" marR="0" lvl="0" indent="0" algn="ctr" defTabSz="1219140" rtl="0" eaLnBrk="1" fontAlgn="base" latinLnBrk="0" hangingPunct="1">
              <a:lnSpc>
                <a:spcPts val="13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ESG Analytics,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Green IT Index,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SCR Insights</a:t>
            </a:r>
          </a:p>
        </p:txBody>
      </p:sp>
      <p:sp>
        <p:nvSpPr>
          <p:cNvPr id="18" name="TextBox 31">
            <a:extLst>
              <a:ext uri="{FF2B5EF4-FFF2-40B4-BE49-F238E27FC236}">
                <a16:creationId xmlns:a16="http://schemas.microsoft.com/office/drawing/2014/main" id="{634D5F80-01D5-CECF-3482-82CC77651765}"/>
              </a:ext>
            </a:extLst>
          </p:cNvPr>
          <p:cNvSpPr txBox="1"/>
          <p:nvPr/>
        </p:nvSpPr>
        <p:spPr>
          <a:xfrm>
            <a:off x="3301555" y="5508399"/>
            <a:ext cx="1447059" cy="784014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base" latinLnBrk="0" hangingPunct="1">
              <a:lnSpc>
                <a:spcPts val="13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sng" strike="noStrike" kern="1200" cap="none" spc="0" normalizeH="0" baseline="0" noProof="0">
                <a:ln>
                  <a:noFill/>
                </a:ln>
                <a:solidFill>
                  <a:srgbClr val="00249A"/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Generative AI</a:t>
            </a:r>
          </a:p>
          <a:p>
            <a:pPr marL="0" marR="0" lvl="0" indent="0" algn="ctr" defTabSz="1219140" rtl="0" eaLnBrk="1" fontAlgn="base" latinLnBrk="0" hangingPunct="1">
              <a:lnSpc>
                <a:spcPts val="13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Platform based approach to realizing both business and productivity use cases</a:t>
            </a:r>
          </a:p>
        </p:txBody>
      </p:sp>
      <p:sp>
        <p:nvSpPr>
          <p:cNvPr id="19" name="TextBox 32">
            <a:extLst>
              <a:ext uri="{FF2B5EF4-FFF2-40B4-BE49-F238E27FC236}">
                <a16:creationId xmlns:a16="http://schemas.microsoft.com/office/drawing/2014/main" id="{10B8C30E-7C0E-B4FE-2B84-D0301EE64823}"/>
              </a:ext>
            </a:extLst>
          </p:cNvPr>
          <p:cNvSpPr txBox="1"/>
          <p:nvPr/>
        </p:nvSpPr>
        <p:spPr>
          <a:xfrm>
            <a:off x="4964724" y="5521804"/>
            <a:ext cx="1608879" cy="741000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base" latinLnBrk="0" hangingPunct="1">
              <a:lnSpc>
                <a:spcPts val="13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sng" strike="noStrike" kern="1200" cap="none" spc="0" normalizeH="0" baseline="0" noProof="0">
                <a:ln>
                  <a:noFill/>
                </a:ln>
                <a:solidFill>
                  <a:srgbClr val="00249A"/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Quantum Computing</a:t>
            </a:r>
          </a:p>
          <a:p>
            <a:pPr marL="0" marR="0" lvl="0" indent="0" algn="ctr" defTabSz="1219140" rtl="0" eaLnBrk="1" fontAlgn="base" latinLnBrk="0" hangingPunct="1">
              <a:lnSpc>
                <a:spcPts val="13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Partnerships with Oxford, IIT, Qunu and D-Wave on Quantum Cryptography </a:t>
            </a:r>
          </a:p>
        </p:txBody>
      </p:sp>
      <p:sp>
        <p:nvSpPr>
          <p:cNvPr id="20" name="TextBox 33">
            <a:extLst>
              <a:ext uri="{FF2B5EF4-FFF2-40B4-BE49-F238E27FC236}">
                <a16:creationId xmlns:a16="http://schemas.microsoft.com/office/drawing/2014/main" id="{F736ADF4-FEDE-A1D6-349E-0F0E5F909FBA}"/>
              </a:ext>
            </a:extLst>
          </p:cNvPr>
          <p:cNvSpPr txBox="1"/>
          <p:nvPr/>
        </p:nvSpPr>
        <p:spPr>
          <a:xfrm>
            <a:off x="8456564" y="5522711"/>
            <a:ext cx="2160362" cy="7634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base" latinLnBrk="0" hangingPunct="1">
              <a:lnSpc>
                <a:spcPts val="13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sng" strike="noStrike" kern="1200" cap="none" spc="0" normalizeH="0" baseline="0" noProof="0">
                <a:ln>
                  <a:noFill/>
                </a:ln>
                <a:solidFill>
                  <a:srgbClr val="00249A"/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60+ Broader Solutions</a:t>
            </a:r>
          </a:p>
          <a:p>
            <a:pPr marL="0" marR="0" lvl="0" indent="0" algn="ctr" defTabSz="1219140" rtl="0" eaLnBrk="1" fontAlgn="base" latinLnBrk="0" hangingPunct="1">
              <a:lnSpc>
                <a:spcPts val="13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Accelerators / Tools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developed across the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modernization spectrum</a:t>
            </a:r>
          </a:p>
        </p:txBody>
      </p:sp>
      <p:pic>
        <p:nvPicPr>
          <p:cNvPr id="21" name="btfpPhotoGeneric124787">
            <a:extLst>
              <a:ext uri="{FF2B5EF4-FFF2-40B4-BE49-F238E27FC236}">
                <a16:creationId xmlns:a16="http://schemas.microsoft.com/office/drawing/2014/main" id="{C26D6FCD-F931-B51D-9B4A-818B978A203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3746" y="2317370"/>
            <a:ext cx="915904" cy="189881"/>
          </a:xfrm>
          <a:prstGeom prst="rect">
            <a:avLst/>
          </a:prstGeom>
        </p:spPr>
      </p:pic>
      <p:sp>
        <p:nvSpPr>
          <p:cNvPr id="22" name="TextBox 36">
            <a:extLst>
              <a:ext uri="{FF2B5EF4-FFF2-40B4-BE49-F238E27FC236}">
                <a16:creationId xmlns:a16="http://schemas.microsoft.com/office/drawing/2014/main" id="{8E8C47B6-41FD-0C66-457F-07370F9D6BD9}"/>
              </a:ext>
            </a:extLst>
          </p:cNvPr>
          <p:cNvSpPr txBox="1"/>
          <p:nvPr/>
        </p:nvSpPr>
        <p:spPr>
          <a:xfrm>
            <a:off x="6276951" y="1616684"/>
            <a:ext cx="131759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200" b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FS Labs &amp; Studio  for rapid prototyping and POCs</a:t>
            </a:r>
          </a:p>
        </p:txBody>
      </p:sp>
      <p:sp>
        <p:nvSpPr>
          <p:cNvPr id="23" name="TextBox 37">
            <a:extLst>
              <a:ext uri="{FF2B5EF4-FFF2-40B4-BE49-F238E27FC236}">
                <a16:creationId xmlns:a16="http://schemas.microsoft.com/office/drawing/2014/main" id="{9FA7936B-44E0-0A28-D367-D6BE0629279E}"/>
              </a:ext>
            </a:extLst>
          </p:cNvPr>
          <p:cNvSpPr txBox="1"/>
          <p:nvPr/>
        </p:nvSpPr>
        <p:spPr>
          <a:xfrm>
            <a:off x="4592767" y="1616684"/>
            <a:ext cx="131759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200" b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rketplace based API </a:t>
            </a:r>
            <a:br>
              <a:rPr lang="en-US" sz="1200" b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200" b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ntric solution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9A484BC-C771-9203-51FF-1E0139E82F2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4880" y="4431598"/>
            <a:ext cx="422807" cy="142908"/>
          </a:xfrm>
          <a:prstGeom prst="rect">
            <a:avLst/>
          </a:prstGeom>
        </p:spPr>
      </p:pic>
      <p:sp>
        <p:nvSpPr>
          <p:cNvPr id="25" name="Freeform: Shape 50">
            <a:extLst>
              <a:ext uri="{FF2B5EF4-FFF2-40B4-BE49-F238E27FC236}">
                <a16:creationId xmlns:a16="http://schemas.microsoft.com/office/drawing/2014/main" id="{37CBBF03-07A1-FDA1-78F3-73511E3B6930}"/>
              </a:ext>
            </a:extLst>
          </p:cNvPr>
          <p:cNvSpPr/>
          <p:nvPr/>
        </p:nvSpPr>
        <p:spPr>
          <a:xfrm rot="9780000">
            <a:off x="5858717" y="1091426"/>
            <a:ext cx="1573518" cy="1984520"/>
          </a:xfrm>
          <a:custGeom>
            <a:avLst/>
            <a:gdLst>
              <a:gd name="connsiteX0" fmla="*/ 1846321 w 2252063"/>
              <a:gd name="connsiteY0" fmla="*/ 2771924 h 2774338"/>
              <a:gd name="connsiteX1" fmla="*/ 9138 w 2252063"/>
              <a:gd name="connsiteY1" fmla="*/ 540216 h 2774338"/>
              <a:gd name="connsiteX2" fmla="*/ 0 w 2252063"/>
              <a:gd name="connsiteY2" fmla="*/ 371635 h 2774338"/>
              <a:gd name="connsiteX3" fmla="*/ 509741 w 2252063"/>
              <a:gd name="connsiteY3" fmla="*/ 371635 h 2774338"/>
              <a:gd name="connsiteX4" fmla="*/ 511716 w 2252063"/>
              <a:gd name="connsiteY4" fmla="*/ 361290 h 2774338"/>
              <a:gd name="connsiteX5" fmla="*/ 492112 w 2252063"/>
              <a:gd name="connsiteY5" fmla="*/ 310827 h 2774338"/>
              <a:gd name="connsiteX6" fmla="*/ 449793 w 2252063"/>
              <a:gd name="connsiteY6" fmla="*/ 259951 h 2774338"/>
              <a:gd name="connsiteX7" fmla="*/ 401743 w 2252063"/>
              <a:gd name="connsiteY7" fmla="*/ 152275 h 2774338"/>
              <a:gd name="connsiteX8" fmla="*/ 565796 w 2252063"/>
              <a:gd name="connsiteY8" fmla="*/ 0 h 2774338"/>
              <a:gd name="connsiteX9" fmla="*/ 729849 w 2252063"/>
              <a:gd name="connsiteY9" fmla="*/ 152275 h 2774338"/>
              <a:gd name="connsiteX10" fmla="*/ 681800 w 2252063"/>
              <a:gd name="connsiteY10" fmla="*/ 259951 h 2774338"/>
              <a:gd name="connsiteX11" fmla="*/ 647459 w 2252063"/>
              <a:gd name="connsiteY11" fmla="*/ 303739 h 2774338"/>
              <a:gd name="connsiteX12" fmla="*/ 637611 w 2252063"/>
              <a:gd name="connsiteY12" fmla="*/ 368370 h 2774338"/>
              <a:gd name="connsiteX13" fmla="*/ 638553 w 2252063"/>
              <a:gd name="connsiteY13" fmla="*/ 371635 h 2774338"/>
              <a:gd name="connsiteX14" fmla="*/ 1355654 w 2252063"/>
              <a:gd name="connsiteY14" fmla="*/ 371635 h 2774338"/>
              <a:gd name="connsiteX15" fmla="*/ 1357239 w 2252063"/>
              <a:gd name="connsiteY15" fmla="*/ 400874 h 2774338"/>
              <a:gd name="connsiteX16" fmla="*/ 2242466 w 2252063"/>
              <a:gd name="connsiteY16" fmla="*/ 1476199 h 2774338"/>
              <a:gd name="connsiteX17" fmla="*/ 2252063 w 2252063"/>
              <a:gd name="connsiteY17" fmla="*/ 1478611 h 2774338"/>
              <a:gd name="connsiteX18" fmla="*/ 2048701 w 2252063"/>
              <a:gd name="connsiteY18" fmla="*/ 2143778 h 2774338"/>
              <a:gd name="connsiteX19" fmla="*/ 2040577 w 2252063"/>
              <a:gd name="connsiteY19" fmla="*/ 2142254 h 2774338"/>
              <a:gd name="connsiteX20" fmla="*/ 2022299 w 2252063"/>
              <a:gd name="connsiteY20" fmla="*/ 2131228 h 2774338"/>
              <a:gd name="connsiteX21" fmla="*/ 1986651 w 2252063"/>
              <a:gd name="connsiteY21" fmla="*/ 2080118 h 2774338"/>
              <a:gd name="connsiteX22" fmla="*/ 1887077 w 2252063"/>
              <a:gd name="connsiteY22" fmla="*/ 1993412 h 2774338"/>
              <a:gd name="connsiteX23" fmla="*/ 1670303 w 2252063"/>
              <a:gd name="connsiteY23" fmla="*/ 2119236 h 2774338"/>
              <a:gd name="connsiteX24" fmla="*/ 1779658 w 2252063"/>
              <a:gd name="connsiteY24" fmla="*/ 2344766 h 2774338"/>
              <a:gd name="connsiteX25" fmla="*/ 1910694 w 2252063"/>
              <a:gd name="connsiteY25" fmla="*/ 2328564 h 2774338"/>
              <a:gd name="connsiteX26" fmla="*/ 1979029 w 2252063"/>
              <a:gd name="connsiteY26" fmla="*/ 2299903 h 2774338"/>
              <a:gd name="connsiteX27" fmla="*/ 2001791 w 2252063"/>
              <a:gd name="connsiteY27" fmla="*/ 2297213 h 2774338"/>
              <a:gd name="connsiteX28" fmla="*/ 1855919 w 2252063"/>
              <a:gd name="connsiteY28" fmla="*/ 2774338 h 277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252063" h="2774338">
                <a:moveTo>
                  <a:pt x="1846321" y="2771924"/>
                </a:moveTo>
                <a:cubicBezTo>
                  <a:pt x="810527" y="2455251"/>
                  <a:pt x="114358" y="1553789"/>
                  <a:pt x="9138" y="540216"/>
                </a:cubicBezTo>
                <a:lnTo>
                  <a:pt x="0" y="371635"/>
                </a:lnTo>
                <a:lnTo>
                  <a:pt x="509741" y="371635"/>
                </a:lnTo>
                <a:lnTo>
                  <a:pt x="511716" y="361290"/>
                </a:lnTo>
                <a:cubicBezTo>
                  <a:pt x="511049" y="341497"/>
                  <a:pt x="502380" y="323304"/>
                  <a:pt x="492112" y="310827"/>
                </a:cubicBezTo>
                <a:cubicBezTo>
                  <a:pt x="478005" y="292186"/>
                  <a:pt x="463899" y="276909"/>
                  <a:pt x="449793" y="259951"/>
                </a:cubicBezTo>
                <a:cubicBezTo>
                  <a:pt x="420106" y="232394"/>
                  <a:pt x="401743" y="194325"/>
                  <a:pt x="401743" y="152275"/>
                </a:cubicBezTo>
                <a:cubicBezTo>
                  <a:pt x="401743" y="68176"/>
                  <a:pt x="475192" y="0"/>
                  <a:pt x="565796" y="0"/>
                </a:cubicBezTo>
                <a:cubicBezTo>
                  <a:pt x="656400" y="0"/>
                  <a:pt x="729849" y="68176"/>
                  <a:pt x="729849" y="152275"/>
                </a:cubicBezTo>
                <a:cubicBezTo>
                  <a:pt x="729849" y="194326"/>
                  <a:pt x="711487" y="227346"/>
                  <a:pt x="681800" y="259951"/>
                </a:cubicBezTo>
                <a:cubicBezTo>
                  <a:pt x="666988" y="277912"/>
                  <a:pt x="658906" y="289142"/>
                  <a:pt x="647459" y="303739"/>
                </a:cubicBezTo>
                <a:cubicBezTo>
                  <a:pt x="636635" y="322371"/>
                  <a:pt x="634299" y="346341"/>
                  <a:pt x="637611" y="368370"/>
                </a:cubicBezTo>
                <a:lnTo>
                  <a:pt x="638553" y="371635"/>
                </a:lnTo>
                <a:lnTo>
                  <a:pt x="1355654" y="371635"/>
                </a:lnTo>
                <a:lnTo>
                  <a:pt x="1357239" y="400874"/>
                </a:lnTo>
                <a:cubicBezTo>
                  <a:pt x="1407938" y="889253"/>
                  <a:pt x="1743380" y="1323613"/>
                  <a:pt x="2242466" y="1476199"/>
                </a:cubicBezTo>
                <a:lnTo>
                  <a:pt x="2252063" y="1478611"/>
                </a:lnTo>
                <a:lnTo>
                  <a:pt x="2048701" y="2143778"/>
                </a:lnTo>
                <a:lnTo>
                  <a:pt x="2040577" y="2142254"/>
                </a:lnTo>
                <a:cubicBezTo>
                  <a:pt x="2033480" y="2139704"/>
                  <a:pt x="2027285" y="2136055"/>
                  <a:pt x="2022299" y="2131228"/>
                </a:cubicBezTo>
                <a:cubicBezTo>
                  <a:pt x="2010415" y="2114191"/>
                  <a:pt x="2001036" y="2101860"/>
                  <a:pt x="1986651" y="2080118"/>
                </a:cubicBezTo>
                <a:cubicBezTo>
                  <a:pt x="1961455" y="2037653"/>
                  <a:pt x="1932107" y="2007179"/>
                  <a:pt x="1887077" y="1993412"/>
                </a:cubicBezTo>
                <a:cubicBezTo>
                  <a:pt x="1797019" y="1965879"/>
                  <a:pt x="1699966" y="2022212"/>
                  <a:pt x="1670303" y="2119236"/>
                </a:cubicBezTo>
                <a:cubicBezTo>
                  <a:pt x="1640640" y="2216259"/>
                  <a:pt x="1689600" y="2317233"/>
                  <a:pt x="1779658" y="2344766"/>
                </a:cubicBezTo>
                <a:cubicBezTo>
                  <a:pt x="1824687" y="2358533"/>
                  <a:pt x="1871464" y="2351333"/>
                  <a:pt x="1910694" y="2328564"/>
                </a:cubicBezTo>
                <a:cubicBezTo>
                  <a:pt x="1933471" y="2319011"/>
                  <a:pt x="1954449" y="2308905"/>
                  <a:pt x="1979029" y="2299903"/>
                </a:cubicBezTo>
                <a:lnTo>
                  <a:pt x="2001791" y="2297213"/>
                </a:lnTo>
                <a:lnTo>
                  <a:pt x="1855919" y="2774338"/>
                </a:lnTo>
                <a:close/>
              </a:path>
            </a:pathLst>
          </a:custGeom>
          <a:solidFill>
            <a:srgbClr val="00A2E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6" name="Freeform: Shape 51">
            <a:extLst>
              <a:ext uri="{FF2B5EF4-FFF2-40B4-BE49-F238E27FC236}">
                <a16:creationId xmlns:a16="http://schemas.microsoft.com/office/drawing/2014/main" id="{6BE00D4E-7F59-5DFB-A3ED-DCF8B7F98247}"/>
              </a:ext>
            </a:extLst>
          </p:cNvPr>
          <p:cNvSpPr/>
          <p:nvPr/>
        </p:nvSpPr>
        <p:spPr>
          <a:xfrm rot="13980000">
            <a:off x="6312883" y="2560458"/>
            <a:ext cx="1616558" cy="1955638"/>
          </a:xfrm>
          <a:custGeom>
            <a:avLst/>
            <a:gdLst>
              <a:gd name="connsiteX0" fmla="*/ 1796272 w 2259932"/>
              <a:gd name="connsiteY0" fmla="*/ 2798964 h 2798964"/>
              <a:gd name="connsiteX1" fmla="*/ 1730551 w 2259932"/>
              <a:gd name="connsiteY1" fmla="*/ 2779001 h 2798964"/>
              <a:gd name="connsiteX2" fmla="*/ 1038791 w 2259932"/>
              <a:gd name="connsiteY2" fmla="*/ 2404926 h 2798964"/>
              <a:gd name="connsiteX3" fmla="*/ 0 w 2259932"/>
              <a:gd name="connsiteY3" fmla="*/ 430637 h 2798964"/>
              <a:gd name="connsiteX4" fmla="*/ 233 w 2259932"/>
              <a:gd name="connsiteY4" fmla="*/ 367576 h 2798964"/>
              <a:gd name="connsiteX5" fmla="*/ 611865 w 2259932"/>
              <a:gd name="connsiteY5" fmla="*/ 367576 h 2798964"/>
              <a:gd name="connsiteX6" fmla="*/ 613065 w 2259932"/>
              <a:gd name="connsiteY6" fmla="*/ 361290 h 2798964"/>
              <a:gd name="connsiteX7" fmla="*/ 593461 w 2259932"/>
              <a:gd name="connsiteY7" fmla="*/ 310827 h 2798964"/>
              <a:gd name="connsiteX8" fmla="*/ 551142 w 2259932"/>
              <a:gd name="connsiteY8" fmla="*/ 259951 h 2798964"/>
              <a:gd name="connsiteX9" fmla="*/ 503092 w 2259932"/>
              <a:gd name="connsiteY9" fmla="*/ 152275 h 2798964"/>
              <a:gd name="connsiteX10" fmla="*/ 667145 w 2259932"/>
              <a:gd name="connsiteY10" fmla="*/ 0 h 2798964"/>
              <a:gd name="connsiteX11" fmla="*/ 831198 w 2259932"/>
              <a:gd name="connsiteY11" fmla="*/ 152275 h 2798964"/>
              <a:gd name="connsiteX12" fmla="*/ 783149 w 2259932"/>
              <a:gd name="connsiteY12" fmla="*/ 259951 h 2798964"/>
              <a:gd name="connsiteX13" fmla="*/ 748808 w 2259932"/>
              <a:gd name="connsiteY13" fmla="*/ 303739 h 2798964"/>
              <a:gd name="connsiteX14" fmla="*/ 738583 w 2259932"/>
              <a:gd name="connsiteY14" fmla="*/ 334780 h 2798964"/>
              <a:gd name="connsiteX15" fmla="*/ 738951 w 2259932"/>
              <a:gd name="connsiteY15" fmla="*/ 367576 h 2798964"/>
              <a:gd name="connsiteX16" fmla="*/ 1353694 w 2259932"/>
              <a:gd name="connsiteY16" fmla="*/ 367576 h 2798964"/>
              <a:gd name="connsiteX17" fmla="*/ 1353680 w 2259932"/>
              <a:gd name="connsiteY17" fmla="*/ 371539 h 2798964"/>
              <a:gd name="connsiteX18" fmla="*/ 1854211 w 2259932"/>
              <a:gd name="connsiteY18" fmla="*/ 1322829 h 2798964"/>
              <a:gd name="connsiteX19" fmla="*/ 2187527 w 2259932"/>
              <a:gd name="connsiteY19" fmla="*/ 1503074 h 2798964"/>
              <a:gd name="connsiteX20" fmla="*/ 2259932 w 2259932"/>
              <a:gd name="connsiteY20" fmla="*/ 1525067 h 2798964"/>
              <a:gd name="connsiteX21" fmla="*/ 2020075 w 2259932"/>
              <a:gd name="connsiteY21" fmla="*/ 2184069 h 2798964"/>
              <a:gd name="connsiteX22" fmla="*/ 2008442 w 2259932"/>
              <a:gd name="connsiteY22" fmla="*/ 2181250 h 2798964"/>
              <a:gd name="connsiteX23" fmla="*/ 1990766 w 2259932"/>
              <a:gd name="connsiteY23" fmla="*/ 2169282 h 2798964"/>
              <a:gd name="connsiteX24" fmla="*/ 1957842 w 2259932"/>
              <a:gd name="connsiteY24" fmla="*/ 2116377 h 2798964"/>
              <a:gd name="connsiteX25" fmla="*/ 1862943 w 2259932"/>
              <a:gd name="connsiteY25" fmla="*/ 2024578 h 2798964"/>
              <a:gd name="connsiteX26" fmla="*/ 1639881 w 2259932"/>
              <a:gd name="connsiteY26" fmla="*/ 2138884 h 2798964"/>
              <a:gd name="connsiteX27" fmla="*/ 1737282 w 2259932"/>
              <a:gd name="connsiteY27" fmla="*/ 2369829 h 2798964"/>
              <a:gd name="connsiteX28" fmla="*/ 1868987 w 2259932"/>
              <a:gd name="connsiteY28" fmla="*/ 2360506 h 2798964"/>
              <a:gd name="connsiteX29" fmla="*/ 1938729 w 2259932"/>
              <a:gd name="connsiteY29" fmla="*/ 2335461 h 2798964"/>
              <a:gd name="connsiteX30" fmla="*/ 1965612 w 2259932"/>
              <a:gd name="connsiteY30" fmla="*/ 2333706 h 2798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259932" h="2798964">
                <a:moveTo>
                  <a:pt x="1796272" y="2798964"/>
                </a:moveTo>
                <a:lnTo>
                  <a:pt x="1730551" y="2779001"/>
                </a:lnTo>
                <a:cubicBezTo>
                  <a:pt x="1488394" y="2692187"/>
                  <a:pt x="1255046" y="2567884"/>
                  <a:pt x="1038791" y="2404926"/>
                </a:cubicBezTo>
                <a:cubicBezTo>
                  <a:pt x="390029" y="1916046"/>
                  <a:pt x="33286" y="1183400"/>
                  <a:pt x="0" y="430637"/>
                </a:cubicBezTo>
                <a:lnTo>
                  <a:pt x="233" y="367576"/>
                </a:lnTo>
                <a:lnTo>
                  <a:pt x="611865" y="367576"/>
                </a:lnTo>
                <a:lnTo>
                  <a:pt x="613065" y="361290"/>
                </a:lnTo>
                <a:cubicBezTo>
                  <a:pt x="612398" y="341497"/>
                  <a:pt x="603729" y="323304"/>
                  <a:pt x="593461" y="310827"/>
                </a:cubicBezTo>
                <a:cubicBezTo>
                  <a:pt x="579355" y="292186"/>
                  <a:pt x="565248" y="276909"/>
                  <a:pt x="551142" y="259951"/>
                </a:cubicBezTo>
                <a:cubicBezTo>
                  <a:pt x="521455" y="232394"/>
                  <a:pt x="503092" y="194325"/>
                  <a:pt x="503092" y="152275"/>
                </a:cubicBezTo>
                <a:cubicBezTo>
                  <a:pt x="503092" y="68176"/>
                  <a:pt x="576541" y="0"/>
                  <a:pt x="667145" y="0"/>
                </a:cubicBezTo>
                <a:cubicBezTo>
                  <a:pt x="757749" y="0"/>
                  <a:pt x="831198" y="68176"/>
                  <a:pt x="831198" y="152275"/>
                </a:cubicBezTo>
                <a:cubicBezTo>
                  <a:pt x="831198" y="194325"/>
                  <a:pt x="812836" y="227346"/>
                  <a:pt x="783149" y="259951"/>
                </a:cubicBezTo>
                <a:cubicBezTo>
                  <a:pt x="768337" y="277913"/>
                  <a:pt x="760255" y="289142"/>
                  <a:pt x="748808" y="303739"/>
                </a:cubicBezTo>
                <a:cubicBezTo>
                  <a:pt x="743396" y="313055"/>
                  <a:pt x="740106" y="323706"/>
                  <a:pt x="738583" y="334780"/>
                </a:cubicBezTo>
                <a:lnTo>
                  <a:pt x="738951" y="367576"/>
                </a:lnTo>
                <a:lnTo>
                  <a:pt x="1353694" y="367576"/>
                </a:lnTo>
                <a:lnTo>
                  <a:pt x="1353680" y="371539"/>
                </a:lnTo>
                <a:cubicBezTo>
                  <a:pt x="1369718" y="734250"/>
                  <a:pt x="1541611" y="1087268"/>
                  <a:pt x="1854211" y="1322829"/>
                </a:cubicBezTo>
                <a:cubicBezTo>
                  <a:pt x="1958411" y="1401349"/>
                  <a:pt x="2070846" y="1461244"/>
                  <a:pt x="2187527" y="1503074"/>
                </a:cubicBezTo>
                <a:lnTo>
                  <a:pt x="2259932" y="1525067"/>
                </a:lnTo>
                <a:lnTo>
                  <a:pt x="2020075" y="2184069"/>
                </a:lnTo>
                <a:lnTo>
                  <a:pt x="2008442" y="2181250"/>
                </a:lnTo>
                <a:cubicBezTo>
                  <a:pt x="2001488" y="2178332"/>
                  <a:pt x="1995493" y="2174364"/>
                  <a:pt x="1990766" y="2169282"/>
                </a:cubicBezTo>
                <a:cubicBezTo>
                  <a:pt x="1979791" y="2151647"/>
                  <a:pt x="1971070" y="2138842"/>
                  <a:pt x="1957842" y="2116377"/>
                </a:cubicBezTo>
                <a:cubicBezTo>
                  <a:pt x="1934903" y="2072651"/>
                  <a:pt x="1907191" y="2040683"/>
                  <a:pt x="1862943" y="2024578"/>
                </a:cubicBezTo>
                <a:cubicBezTo>
                  <a:pt x="1774449" y="1992369"/>
                  <a:pt x="1674581" y="2043545"/>
                  <a:pt x="1639881" y="2138884"/>
                </a:cubicBezTo>
                <a:cubicBezTo>
                  <a:pt x="1605181" y="2234222"/>
                  <a:pt x="1648788" y="2337620"/>
                  <a:pt x="1737282" y="2369829"/>
                </a:cubicBezTo>
                <a:cubicBezTo>
                  <a:pt x="1781530" y="2385933"/>
                  <a:pt x="1828620" y="2381191"/>
                  <a:pt x="1868987" y="2360506"/>
                </a:cubicBezTo>
                <a:cubicBezTo>
                  <a:pt x="1892234" y="2352158"/>
                  <a:pt x="1913711" y="2343166"/>
                  <a:pt x="1938729" y="2335461"/>
                </a:cubicBezTo>
                <a:lnTo>
                  <a:pt x="1965612" y="2333706"/>
                </a:lnTo>
                <a:close/>
              </a:path>
            </a:pathLst>
          </a:cu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7" name="Freeform: Shape 52">
            <a:extLst>
              <a:ext uri="{FF2B5EF4-FFF2-40B4-BE49-F238E27FC236}">
                <a16:creationId xmlns:a16="http://schemas.microsoft.com/office/drawing/2014/main" id="{9AF5474F-A1E2-000D-A419-9CEEF31776DE}"/>
              </a:ext>
            </a:extLst>
          </p:cNvPr>
          <p:cNvSpPr/>
          <p:nvPr/>
        </p:nvSpPr>
        <p:spPr>
          <a:xfrm rot="18420000">
            <a:off x="5044806" y="3411260"/>
            <a:ext cx="1642858" cy="2048306"/>
          </a:xfrm>
          <a:custGeom>
            <a:avLst/>
            <a:gdLst>
              <a:gd name="connsiteX0" fmla="*/ 1353460 w 2296698"/>
              <a:gd name="connsiteY0" fmla="*/ 367859 h 2931592"/>
              <a:gd name="connsiteX1" fmla="*/ 1353865 w 2296698"/>
              <a:gd name="connsiteY1" fmla="*/ 477758 h 2931592"/>
              <a:gd name="connsiteX2" fmla="*/ 1605965 w 2296698"/>
              <a:gd name="connsiteY2" fmla="*/ 1169857 h 2931592"/>
              <a:gd name="connsiteX3" fmla="*/ 2201765 w 2296698"/>
              <a:gd name="connsiteY3" fmla="*/ 1602959 h 2931592"/>
              <a:gd name="connsiteX4" fmla="*/ 2296698 w 2296698"/>
              <a:gd name="connsiteY4" fmla="*/ 1630561 h 2931592"/>
              <a:gd name="connsiteX5" fmla="*/ 2131455 w 2296698"/>
              <a:gd name="connsiteY5" fmla="*/ 2206832 h 2931592"/>
              <a:gd name="connsiteX6" fmla="*/ 2123682 w 2296698"/>
              <a:gd name="connsiteY6" fmla="*/ 2205516 h 2931592"/>
              <a:gd name="connsiteX7" fmla="*/ 2105215 w 2296698"/>
              <a:gd name="connsiteY7" fmla="*/ 2194811 h 2931592"/>
              <a:gd name="connsiteX8" fmla="*/ 2068681 w 2296698"/>
              <a:gd name="connsiteY8" fmla="*/ 2144331 h 2931592"/>
              <a:gd name="connsiteX9" fmla="*/ 1967609 w 2296698"/>
              <a:gd name="connsiteY9" fmla="*/ 2059376 h 2931592"/>
              <a:gd name="connsiteX10" fmla="*/ 1753064 w 2296698"/>
              <a:gd name="connsiteY10" fmla="*/ 2188963 h 2931592"/>
              <a:gd name="connsiteX11" fmla="*/ 1866338 w 2296698"/>
              <a:gd name="connsiteY11" fmla="*/ 2412551 h 2931592"/>
              <a:gd name="connsiteX12" fmla="*/ 1997071 w 2296698"/>
              <a:gd name="connsiteY12" fmla="*/ 2394063 h 2931592"/>
              <a:gd name="connsiteX13" fmla="*/ 2064897 w 2296698"/>
              <a:gd name="connsiteY13" fmla="*/ 2364215 h 2931592"/>
              <a:gd name="connsiteX14" fmla="*/ 2087195 w 2296698"/>
              <a:gd name="connsiteY14" fmla="*/ 2361185 h 2931592"/>
              <a:gd name="connsiteX15" fmla="*/ 1923633 w 2296698"/>
              <a:gd name="connsiteY15" fmla="*/ 2931592 h 2931592"/>
              <a:gd name="connsiteX16" fmla="*/ 1760382 w 2296698"/>
              <a:gd name="connsiteY16" fmla="*/ 2884129 h 2931592"/>
              <a:gd name="connsiteX17" fmla="*/ 523869 w 2296698"/>
              <a:gd name="connsiteY17" fmla="*/ 1985277 h 2931592"/>
              <a:gd name="connsiteX18" fmla="*/ 667 w 2296698"/>
              <a:gd name="connsiteY18" fmla="*/ 548908 h 2931592"/>
              <a:gd name="connsiteX19" fmla="*/ 0 w 2296698"/>
              <a:gd name="connsiteY19" fmla="*/ 367859 h 2931592"/>
              <a:gd name="connsiteX20" fmla="*/ 578245 w 2296698"/>
              <a:gd name="connsiteY20" fmla="*/ 367859 h 2931592"/>
              <a:gd name="connsiteX21" fmla="*/ 579499 w 2296698"/>
              <a:gd name="connsiteY21" fmla="*/ 361290 h 2931592"/>
              <a:gd name="connsiteX22" fmla="*/ 559895 w 2296698"/>
              <a:gd name="connsiteY22" fmla="*/ 310827 h 2931592"/>
              <a:gd name="connsiteX23" fmla="*/ 517576 w 2296698"/>
              <a:gd name="connsiteY23" fmla="*/ 259950 h 2931592"/>
              <a:gd name="connsiteX24" fmla="*/ 469526 w 2296698"/>
              <a:gd name="connsiteY24" fmla="*/ 152275 h 2931592"/>
              <a:gd name="connsiteX25" fmla="*/ 633579 w 2296698"/>
              <a:gd name="connsiteY25" fmla="*/ 0 h 2931592"/>
              <a:gd name="connsiteX26" fmla="*/ 797632 w 2296698"/>
              <a:gd name="connsiteY26" fmla="*/ 152275 h 2931592"/>
              <a:gd name="connsiteX27" fmla="*/ 749583 w 2296698"/>
              <a:gd name="connsiteY27" fmla="*/ 259951 h 2931592"/>
              <a:gd name="connsiteX28" fmla="*/ 715242 w 2296698"/>
              <a:gd name="connsiteY28" fmla="*/ 303739 h 2931592"/>
              <a:gd name="connsiteX29" fmla="*/ 705017 w 2296698"/>
              <a:gd name="connsiteY29" fmla="*/ 334781 h 2931592"/>
              <a:gd name="connsiteX30" fmla="*/ 705388 w 2296698"/>
              <a:gd name="connsiteY30" fmla="*/ 367859 h 2931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296698" h="2931592">
                <a:moveTo>
                  <a:pt x="1353460" y="367859"/>
                </a:moveTo>
                <a:lnTo>
                  <a:pt x="1353865" y="477758"/>
                </a:lnTo>
                <a:cubicBezTo>
                  <a:pt x="1366386" y="720115"/>
                  <a:pt x="1448924" y="961457"/>
                  <a:pt x="1605965" y="1169857"/>
                </a:cubicBezTo>
                <a:cubicBezTo>
                  <a:pt x="1763005" y="1378258"/>
                  <a:pt x="1972248" y="1524120"/>
                  <a:pt x="2201765" y="1602959"/>
                </a:cubicBezTo>
                <a:lnTo>
                  <a:pt x="2296698" y="1630561"/>
                </a:lnTo>
                <a:lnTo>
                  <a:pt x="2131455" y="2206832"/>
                </a:lnTo>
                <a:lnTo>
                  <a:pt x="2123682" y="2205516"/>
                </a:lnTo>
                <a:cubicBezTo>
                  <a:pt x="2116543" y="2203089"/>
                  <a:pt x="2110285" y="2199550"/>
                  <a:pt x="2105215" y="2194811"/>
                </a:cubicBezTo>
                <a:cubicBezTo>
                  <a:pt x="2093036" y="2177984"/>
                  <a:pt x="2083443" y="2165819"/>
                  <a:pt x="2068681" y="2144331"/>
                </a:cubicBezTo>
                <a:cubicBezTo>
                  <a:pt x="2042748" y="2102312"/>
                  <a:pt x="2012872" y="2072354"/>
                  <a:pt x="1967609" y="2059376"/>
                </a:cubicBezTo>
                <a:cubicBezTo>
                  <a:pt x="1877084" y="2033419"/>
                  <a:pt x="1781029" y="2091437"/>
                  <a:pt x="1753064" y="2188963"/>
                </a:cubicBezTo>
                <a:cubicBezTo>
                  <a:pt x="1725099" y="2286489"/>
                  <a:pt x="1775813" y="2386593"/>
                  <a:pt x="1866338" y="2412551"/>
                </a:cubicBezTo>
                <a:cubicBezTo>
                  <a:pt x="1911602" y="2425530"/>
                  <a:pt x="1958246" y="2417514"/>
                  <a:pt x="1997071" y="2394063"/>
                </a:cubicBezTo>
                <a:cubicBezTo>
                  <a:pt x="2019679" y="2384114"/>
                  <a:pt x="2040477" y="2373646"/>
                  <a:pt x="2064897" y="2364215"/>
                </a:cubicBezTo>
                <a:lnTo>
                  <a:pt x="2087195" y="2361185"/>
                </a:lnTo>
                <a:lnTo>
                  <a:pt x="1923633" y="2931592"/>
                </a:lnTo>
                <a:lnTo>
                  <a:pt x="1760382" y="2884129"/>
                </a:lnTo>
                <a:cubicBezTo>
                  <a:pt x="1284048" y="2720507"/>
                  <a:pt x="849788" y="2417788"/>
                  <a:pt x="523869" y="1985277"/>
                </a:cubicBezTo>
                <a:cubicBezTo>
                  <a:pt x="197949" y="1552767"/>
                  <a:pt x="26653" y="1051889"/>
                  <a:pt x="667" y="548908"/>
                </a:cubicBezTo>
                <a:lnTo>
                  <a:pt x="0" y="367859"/>
                </a:lnTo>
                <a:lnTo>
                  <a:pt x="578245" y="367859"/>
                </a:lnTo>
                <a:lnTo>
                  <a:pt x="579499" y="361290"/>
                </a:lnTo>
                <a:cubicBezTo>
                  <a:pt x="578832" y="341497"/>
                  <a:pt x="570163" y="323304"/>
                  <a:pt x="559895" y="310827"/>
                </a:cubicBezTo>
                <a:cubicBezTo>
                  <a:pt x="545789" y="292186"/>
                  <a:pt x="531682" y="276909"/>
                  <a:pt x="517576" y="259950"/>
                </a:cubicBezTo>
                <a:cubicBezTo>
                  <a:pt x="487888" y="232394"/>
                  <a:pt x="469526" y="194325"/>
                  <a:pt x="469526" y="152275"/>
                </a:cubicBezTo>
                <a:cubicBezTo>
                  <a:pt x="469526" y="68176"/>
                  <a:pt x="542975" y="0"/>
                  <a:pt x="633579" y="0"/>
                </a:cubicBezTo>
                <a:cubicBezTo>
                  <a:pt x="724183" y="0"/>
                  <a:pt x="797632" y="68176"/>
                  <a:pt x="797632" y="152275"/>
                </a:cubicBezTo>
                <a:cubicBezTo>
                  <a:pt x="797632" y="194325"/>
                  <a:pt x="779270" y="227346"/>
                  <a:pt x="749583" y="259951"/>
                </a:cubicBezTo>
                <a:cubicBezTo>
                  <a:pt x="734771" y="277912"/>
                  <a:pt x="726689" y="289142"/>
                  <a:pt x="715242" y="303739"/>
                </a:cubicBezTo>
                <a:cubicBezTo>
                  <a:pt x="709830" y="313055"/>
                  <a:pt x="706540" y="323706"/>
                  <a:pt x="705017" y="334781"/>
                </a:cubicBezTo>
                <a:lnTo>
                  <a:pt x="705388" y="36785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8" name="Freeform: Shape 53">
            <a:extLst>
              <a:ext uri="{FF2B5EF4-FFF2-40B4-BE49-F238E27FC236}">
                <a16:creationId xmlns:a16="http://schemas.microsoft.com/office/drawing/2014/main" id="{C798EDB9-750C-7FBD-1D2F-D240C1BC779E}"/>
              </a:ext>
            </a:extLst>
          </p:cNvPr>
          <p:cNvSpPr/>
          <p:nvPr/>
        </p:nvSpPr>
        <p:spPr>
          <a:xfrm rot="960000">
            <a:off x="4380775" y="1131597"/>
            <a:ext cx="1624216" cy="1698676"/>
          </a:xfrm>
          <a:custGeom>
            <a:avLst/>
            <a:gdLst>
              <a:gd name="connsiteX0" fmla="*/ 1862015 w 2380054"/>
              <a:gd name="connsiteY0" fmla="*/ 0 h 2393044"/>
              <a:gd name="connsiteX1" fmla="*/ 2004226 w 2380054"/>
              <a:gd name="connsiteY1" fmla="*/ 495948 h 2393044"/>
              <a:gd name="connsiteX2" fmla="*/ 2010987 w 2380054"/>
              <a:gd name="connsiteY2" fmla="*/ 495333 h 2393044"/>
              <a:gd name="connsiteX3" fmla="*/ 2054092 w 2380054"/>
              <a:gd name="connsiteY3" fmla="*/ 462579 h 2393044"/>
              <a:gd name="connsiteX4" fmla="*/ 2091332 w 2380054"/>
              <a:gd name="connsiteY4" fmla="*/ 407876 h 2393044"/>
              <a:gd name="connsiteX5" fmla="*/ 2181592 w 2380054"/>
              <a:gd name="connsiteY5" fmla="*/ 332008 h 2393044"/>
              <a:gd name="connsiteX6" fmla="*/ 2373188 w 2380054"/>
              <a:gd name="connsiteY6" fmla="*/ 447733 h 2393044"/>
              <a:gd name="connsiteX7" fmla="*/ 2272030 w 2380054"/>
              <a:gd name="connsiteY7" fmla="*/ 647404 h 2393044"/>
              <a:gd name="connsiteX8" fmla="*/ 2155282 w 2380054"/>
              <a:gd name="connsiteY8" fmla="*/ 630896 h 2393044"/>
              <a:gd name="connsiteX9" fmla="*/ 2103724 w 2380054"/>
              <a:gd name="connsiteY9" fmla="*/ 609955 h 2393044"/>
              <a:gd name="connsiteX10" fmla="*/ 2071067 w 2380054"/>
              <a:gd name="connsiteY10" fmla="*/ 608682 h 2393044"/>
              <a:gd name="connsiteX11" fmla="*/ 2039276 w 2380054"/>
              <a:gd name="connsiteY11" fmla="*/ 618185 h 2393044"/>
              <a:gd name="connsiteX12" fmla="*/ 2235485 w 2380054"/>
              <a:gd name="connsiteY12" fmla="*/ 1302444 h 2393044"/>
              <a:gd name="connsiteX13" fmla="*/ 2140135 w 2380054"/>
              <a:gd name="connsiteY13" fmla="*/ 1335072 h 2393044"/>
              <a:gd name="connsiteX14" fmla="*/ 1358315 w 2380054"/>
              <a:gd name="connsiteY14" fmla="*/ 2353023 h 2393044"/>
              <a:gd name="connsiteX15" fmla="*/ 1355445 w 2380054"/>
              <a:gd name="connsiteY15" fmla="*/ 2393044 h 2393044"/>
              <a:gd name="connsiteX16" fmla="*/ 722511 w 2380054"/>
              <a:gd name="connsiteY16" fmla="*/ 2381997 h 2393044"/>
              <a:gd name="connsiteX17" fmla="*/ 724315 w 2380054"/>
              <a:gd name="connsiteY17" fmla="*/ 2350066 h 2393044"/>
              <a:gd name="connsiteX18" fmla="*/ 762769 w 2380054"/>
              <a:gd name="connsiteY18" fmla="*/ 2301032 h 2393044"/>
              <a:gd name="connsiteX19" fmla="*/ 816574 w 2380054"/>
              <a:gd name="connsiteY19" fmla="*/ 2180460 h 2393044"/>
              <a:gd name="connsiteX20" fmla="*/ 632871 w 2380054"/>
              <a:gd name="connsiteY20" fmla="*/ 2009945 h 2393044"/>
              <a:gd name="connsiteX21" fmla="*/ 449167 w 2380054"/>
              <a:gd name="connsiteY21" fmla="*/ 2180460 h 2393044"/>
              <a:gd name="connsiteX22" fmla="*/ 502972 w 2380054"/>
              <a:gd name="connsiteY22" fmla="*/ 2301033 h 2393044"/>
              <a:gd name="connsiteX23" fmla="*/ 550360 w 2380054"/>
              <a:gd name="connsiteY23" fmla="*/ 2358003 h 2393044"/>
              <a:gd name="connsiteX24" fmla="*/ 559662 w 2380054"/>
              <a:gd name="connsiteY24" fmla="*/ 2379154 h 2393044"/>
              <a:gd name="connsiteX25" fmla="*/ 0 w 2380054"/>
              <a:gd name="connsiteY25" fmla="*/ 2369385 h 2393044"/>
              <a:gd name="connsiteX26" fmla="*/ 12855 w 2380054"/>
              <a:gd name="connsiteY26" fmla="*/ 2190173 h 2393044"/>
              <a:gd name="connsiteX27" fmla="*/ 1635425 w 2380054"/>
              <a:gd name="connsiteY27" fmla="*/ 77536 h 2393044"/>
              <a:gd name="connsiteX28" fmla="*/ 1862015 w 2380054"/>
              <a:gd name="connsiteY28" fmla="*/ 0 h 2393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380054" h="2393044">
                <a:moveTo>
                  <a:pt x="1862015" y="0"/>
                </a:moveTo>
                <a:lnTo>
                  <a:pt x="2004226" y="495948"/>
                </a:lnTo>
                <a:lnTo>
                  <a:pt x="2010987" y="495333"/>
                </a:lnTo>
                <a:cubicBezTo>
                  <a:pt x="2029829" y="489236"/>
                  <a:pt x="2044928" y="475890"/>
                  <a:pt x="2054092" y="462579"/>
                </a:cubicBezTo>
                <a:cubicBezTo>
                  <a:pt x="2068122" y="443882"/>
                  <a:pt x="2078919" y="426110"/>
                  <a:pt x="2091332" y="407876"/>
                </a:cubicBezTo>
                <a:cubicBezTo>
                  <a:pt x="2109638" y="371743"/>
                  <a:pt x="2141170" y="343599"/>
                  <a:pt x="2181592" y="332008"/>
                </a:cubicBezTo>
                <a:cubicBezTo>
                  <a:pt x="2262434" y="308827"/>
                  <a:pt x="2348214" y="360639"/>
                  <a:pt x="2373188" y="447733"/>
                </a:cubicBezTo>
                <a:cubicBezTo>
                  <a:pt x="2398162" y="534827"/>
                  <a:pt x="2352872" y="624223"/>
                  <a:pt x="2272030" y="647404"/>
                </a:cubicBezTo>
                <a:cubicBezTo>
                  <a:pt x="2231609" y="658995"/>
                  <a:pt x="2194807" y="650446"/>
                  <a:pt x="2155282" y="630896"/>
                </a:cubicBezTo>
                <a:cubicBezTo>
                  <a:pt x="2133933" y="621608"/>
                  <a:pt x="2120910" y="616935"/>
                  <a:pt x="2103724" y="609955"/>
                </a:cubicBezTo>
                <a:cubicBezTo>
                  <a:pt x="2093278" y="607320"/>
                  <a:pt x="2082132" y="607093"/>
                  <a:pt x="2071067" y="608682"/>
                </a:cubicBezTo>
                <a:lnTo>
                  <a:pt x="2039276" y="618185"/>
                </a:lnTo>
                <a:lnTo>
                  <a:pt x="2235485" y="1302444"/>
                </a:lnTo>
                <a:lnTo>
                  <a:pt x="2140135" y="1335072"/>
                </a:lnTo>
                <a:cubicBezTo>
                  <a:pt x="1705310" y="1508979"/>
                  <a:pt x="1412596" y="1906222"/>
                  <a:pt x="1358315" y="2353023"/>
                </a:cubicBezTo>
                <a:lnTo>
                  <a:pt x="1355445" y="2393044"/>
                </a:lnTo>
                <a:lnTo>
                  <a:pt x="722511" y="2381997"/>
                </a:lnTo>
                <a:lnTo>
                  <a:pt x="724315" y="2350066"/>
                </a:lnTo>
                <a:cubicBezTo>
                  <a:pt x="737132" y="2333721"/>
                  <a:pt x="746183" y="2321146"/>
                  <a:pt x="762769" y="2301032"/>
                </a:cubicBezTo>
                <a:cubicBezTo>
                  <a:pt x="796013" y="2264522"/>
                  <a:pt x="816574" y="2227547"/>
                  <a:pt x="816574" y="2180460"/>
                </a:cubicBezTo>
                <a:cubicBezTo>
                  <a:pt x="816574" y="2086287"/>
                  <a:pt x="734327" y="2009945"/>
                  <a:pt x="632871" y="2009945"/>
                </a:cubicBezTo>
                <a:cubicBezTo>
                  <a:pt x="531414" y="2009946"/>
                  <a:pt x="449166" y="2086287"/>
                  <a:pt x="449167" y="2180460"/>
                </a:cubicBezTo>
                <a:cubicBezTo>
                  <a:pt x="449167" y="2227547"/>
                  <a:pt x="469728" y="2270175"/>
                  <a:pt x="502972" y="2301033"/>
                </a:cubicBezTo>
                <a:cubicBezTo>
                  <a:pt x="518768" y="2320023"/>
                  <a:pt x="534564" y="2337130"/>
                  <a:pt x="550360" y="2358003"/>
                </a:cubicBezTo>
                <a:lnTo>
                  <a:pt x="559662" y="2379154"/>
                </a:lnTo>
                <a:lnTo>
                  <a:pt x="0" y="2369385"/>
                </a:lnTo>
                <a:lnTo>
                  <a:pt x="12855" y="2190173"/>
                </a:lnTo>
                <a:cubicBezTo>
                  <a:pt x="125506" y="1262888"/>
                  <a:pt x="732999" y="438461"/>
                  <a:pt x="1635425" y="77536"/>
                </a:cubicBezTo>
                <a:lnTo>
                  <a:pt x="1862015" y="0"/>
                </a:lnTo>
                <a:close/>
              </a:path>
            </a:pathLst>
          </a:cu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9" name="Freeform: Shape 54">
            <a:extLst>
              <a:ext uri="{FF2B5EF4-FFF2-40B4-BE49-F238E27FC236}">
                <a16:creationId xmlns:a16="http://schemas.microsoft.com/office/drawing/2014/main" id="{B241A564-C745-8052-DF4F-87CB29552DD8}"/>
              </a:ext>
            </a:extLst>
          </p:cNvPr>
          <p:cNvSpPr/>
          <p:nvPr/>
        </p:nvSpPr>
        <p:spPr>
          <a:xfrm rot="960000">
            <a:off x="3921363" y="2482750"/>
            <a:ext cx="1472004" cy="2068459"/>
          </a:xfrm>
          <a:custGeom>
            <a:avLst/>
            <a:gdLst>
              <a:gd name="connsiteX0" fmla="*/ 575110 w 2106774"/>
              <a:gd name="connsiteY0" fmla="*/ 11967 h 2891684"/>
              <a:gd name="connsiteX1" fmla="*/ 638967 w 2106774"/>
              <a:gd name="connsiteY1" fmla="*/ 0 h 2891684"/>
              <a:gd name="connsiteX2" fmla="*/ 803020 w 2106774"/>
              <a:gd name="connsiteY2" fmla="*/ 152275 h 2891684"/>
              <a:gd name="connsiteX3" fmla="*/ 754971 w 2106774"/>
              <a:gd name="connsiteY3" fmla="*/ 259951 h 2891684"/>
              <a:gd name="connsiteX4" fmla="*/ 720630 w 2106774"/>
              <a:gd name="connsiteY4" fmla="*/ 303739 h 2891684"/>
              <a:gd name="connsiteX5" fmla="*/ 710782 w 2106774"/>
              <a:gd name="connsiteY5" fmla="*/ 368370 h 2891684"/>
              <a:gd name="connsiteX6" fmla="*/ 711447 w 2106774"/>
              <a:gd name="connsiteY6" fmla="*/ 370674 h 2891684"/>
              <a:gd name="connsiteX7" fmla="*/ 1360229 w 2106774"/>
              <a:gd name="connsiteY7" fmla="*/ 381999 h 2891684"/>
              <a:gd name="connsiteX8" fmla="*/ 1355591 w 2106774"/>
              <a:gd name="connsiteY8" fmla="*/ 446659 h 2891684"/>
              <a:gd name="connsiteX9" fmla="*/ 1404414 w 2106774"/>
              <a:gd name="connsiteY9" fmla="*/ 822432 h 2891684"/>
              <a:gd name="connsiteX10" fmla="*/ 2004722 w 2106774"/>
              <a:gd name="connsiteY10" fmla="*/ 1577122 h 2891684"/>
              <a:gd name="connsiteX11" fmla="*/ 2106774 w 2106774"/>
              <a:gd name="connsiteY11" fmla="*/ 1627485 h 2891684"/>
              <a:gd name="connsiteX12" fmla="*/ 1879805 w 2106774"/>
              <a:gd name="connsiteY12" fmla="*/ 2218760 h 2891684"/>
              <a:gd name="connsiteX13" fmla="*/ 1871905 w 2106774"/>
              <a:gd name="connsiteY13" fmla="*/ 2216699 h 2891684"/>
              <a:gd name="connsiteX14" fmla="*/ 1854441 w 2106774"/>
              <a:gd name="connsiteY14" fmla="*/ 2204425 h 2891684"/>
              <a:gd name="connsiteX15" fmla="*/ 1822445 w 2106774"/>
              <a:gd name="connsiteY15" fmla="*/ 2150953 h 2891684"/>
              <a:gd name="connsiteX16" fmla="*/ 1729163 w 2106774"/>
              <a:gd name="connsiteY16" fmla="*/ 2057512 h 2891684"/>
              <a:gd name="connsiteX17" fmla="*/ 1504139 w 2106774"/>
              <a:gd name="connsiteY17" fmla="*/ 2167907 h 2891684"/>
              <a:gd name="connsiteX18" fmla="*/ 1597495 w 2106774"/>
              <a:gd name="connsiteY18" fmla="*/ 2400515 h 2891684"/>
              <a:gd name="connsiteX19" fmla="*/ 1729343 w 2106774"/>
              <a:gd name="connsiteY19" fmla="*/ 2393494 h 2891684"/>
              <a:gd name="connsiteX20" fmla="*/ 1799511 w 2106774"/>
              <a:gd name="connsiteY20" fmla="*/ 2369670 h 2891684"/>
              <a:gd name="connsiteX21" fmla="*/ 1822294 w 2106774"/>
              <a:gd name="connsiteY21" fmla="*/ 2368581 h 2891684"/>
              <a:gd name="connsiteX22" fmla="*/ 1621493 w 2106774"/>
              <a:gd name="connsiteY22" fmla="*/ 2891684 h 2891684"/>
              <a:gd name="connsiteX23" fmla="*/ 1572857 w 2106774"/>
              <a:gd name="connsiteY23" fmla="*/ 2873220 h 2891684"/>
              <a:gd name="connsiteX24" fmla="*/ 101972 w 2106774"/>
              <a:gd name="connsiteY24" fmla="*/ 1195902 h 2891684"/>
              <a:gd name="connsiteX25" fmla="*/ 644 w 2106774"/>
              <a:gd name="connsiteY25" fmla="*/ 416033 h 2891684"/>
              <a:gd name="connsiteX26" fmla="*/ 4783 w 2106774"/>
              <a:gd name="connsiteY26" fmla="*/ 358339 h 2891684"/>
              <a:gd name="connsiteX27" fmla="*/ 583522 w 2106774"/>
              <a:gd name="connsiteY27" fmla="*/ 368441 h 2891684"/>
              <a:gd name="connsiteX28" fmla="*/ 584887 w 2106774"/>
              <a:gd name="connsiteY28" fmla="*/ 361290 h 2891684"/>
              <a:gd name="connsiteX29" fmla="*/ 565283 w 2106774"/>
              <a:gd name="connsiteY29" fmla="*/ 310827 h 2891684"/>
              <a:gd name="connsiteX30" fmla="*/ 522964 w 2106774"/>
              <a:gd name="connsiteY30" fmla="*/ 259951 h 2891684"/>
              <a:gd name="connsiteX31" fmla="*/ 474914 w 2106774"/>
              <a:gd name="connsiteY31" fmla="*/ 152275 h 2891684"/>
              <a:gd name="connsiteX32" fmla="*/ 575110 w 2106774"/>
              <a:gd name="connsiteY32" fmla="*/ 11967 h 2891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106774" h="2891684">
                <a:moveTo>
                  <a:pt x="575110" y="11967"/>
                </a:moveTo>
                <a:cubicBezTo>
                  <a:pt x="594737" y="4261"/>
                  <a:pt x="616316" y="0"/>
                  <a:pt x="638967" y="0"/>
                </a:cubicBezTo>
                <a:cubicBezTo>
                  <a:pt x="729571" y="0"/>
                  <a:pt x="803020" y="68176"/>
                  <a:pt x="803020" y="152275"/>
                </a:cubicBezTo>
                <a:cubicBezTo>
                  <a:pt x="803020" y="194325"/>
                  <a:pt x="784658" y="227346"/>
                  <a:pt x="754971" y="259951"/>
                </a:cubicBezTo>
                <a:cubicBezTo>
                  <a:pt x="740159" y="277912"/>
                  <a:pt x="732077" y="289142"/>
                  <a:pt x="720630" y="303739"/>
                </a:cubicBezTo>
                <a:cubicBezTo>
                  <a:pt x="709807" y="322371"/>
                  <a:pt x="707470" y="346341"/>
                  <a:pt x="710782" y="368370"/>
                </a:cubicBezTo>
                <a:lnTo>
                  <a:pt x="711447" y="370674"/>
                </a:lnTo>
                <a:lnTo>
                  <a:pt x="1360229" y="381999"/>
                </a:lnTo>
                <a:lnTo>
                  <a:pt x="1355591" y="446659"/>
                </a:lnTo>
                <a:cubicBezTo>
                  <a:pt x="1352829" y="570581"/>
                  <a:pt x="1368451" y="697013"/>
                  <a:pt x="1404414" y="822432"/>
                </a:cubicBezTo>
                <a:cubicBezTo>
                  <a:pt x="1500316" y="1156881"/>
                  <a:pt x="1722700" y="1420794"/>
                  <a:pt x="2004722" y="1577122"/>
                </a:cubicBezTo>
                <a:lnTo>
                  <a:pt x="2106774" y="1627485"/>
                </a:lnTo>
                <a:lnTo>
                  <a:pt x="1879805" y="2218760"/>
                </a:lnTo>
                <a:lnTo>
                  <a:pt x="1871905" y="2216699"/>
                </a:lnTo>
                <a:cubicBezTo>
                  <a:pt x="1865005" y="2213659"/>
                  <a:pt x="1859079" y="2209588"/>
                  <a:pt x="1854441" y="2204425"/>
                </a:cubicBezTo>
                <a:cubicBezTo>
                  <a:pt x="1843775" y="2186600"/>
                  <a:pt x="1835279" y="2173645"/>
                  <a:pt x="1822445" y="2150953"/>
                </a:cubicBezTo>
                <a:cubicBezTo>
                  <a:pt x="1800273" y="2106833"/>
                  <a:pt x="1773123" y="2074386"/>
                  <a:pt x="1729163" y="2057512"/>
                </a:cubicBezTo>
                <a:cubicBezTo>
                  <a:pt x="1641244" y="2023764"/>
                  <a:pt x="1540498" y="2073189"/>
                  <a:pt x="1504139" y="2167907"/>
                </a:cubicBezTo>
                <a:cubicBezTo>
                  <a:pt x="1467781" y="2262624"/>
                  <a:pt x="1509578" y="2366768"/>
                  <a:pt x="1597495" y="2400515"/>
                </a:cubicBezTo>
                <a:cubicBezTo>
                  <a:pt x="1641455" y="2417391"/>
                  <a:pt x="1688621" y="2413472"/>
                  <a:pt x="1729343" y="2393494"/>
                </a:cubicBezTo>
                <a:cubicBezTo>
                  <a:pt x="1752731" y="2385553"/>
                  <a:pt x="1774363" y="2376936"/>
                  <a:pt x="1799511" y="2369670"/>
                </a:cubicBezTo>
                <a:lnTo>
                  <a:pt x="1822294" y="2368581"/>
                </a:lnTo>
                <a:lnTo>
                  <a:pt x="1621493" y="2891684"/>
                </a:lnTo>
                <a:lnTo>
                  <a:pt x="1572857" y="2873220"/>
                </a:lnTo>
                <a:cubicBezTo>
                  <a:pt x="882021" y="2572377"/>
                  <a:pt x="325882" y="1976774"/>
                  <a:pt x="101972" y="1195902"/>
                </a:cubicBezTo>
                <a:cubicBezTo>
                  <a:pt x="27333" y="935611"/>
                  <a:pt x="-5090" y="673217"/>
                  <a:pt x="644" y="416033"/>
                </a:cubicBezTo>
                <a:lnTo>
                  <a:pt x="4783" y="358339"/>
                </a:lnTo>
                <a:lnTo>
                  <a:pt x="583522" y="368441"/>
                </a:lnTo>
                <a:lnTo>
                  <a:pt x="584887" y="361290"/>
                </a:lnTo>
                <a:cubicBezTo>
                  <a:pt x="584220" y="341497"/>
                  <a:pt x="575552" y="323304"/>
                  <a:pt x="565283" y="310827"/>
                </a:cubicBezTo>
                <a:cubicBezTo>
                  <a:pt x="551177" y="292186"/>
                  <a:pt x="537070" y="276909"/>
                  <a:pt x="522964" y="259951"/>
                </a:cubicBezTo>
                <a:cubicBezTo>
                  <a:pt x="493276" y="232394"/>
                  <a:pt x="474914" y="194325"/>
                  <a:pt x="474914" y="152275"/>
                </a:cubicBezTo>
                <a:cubicBezTo>
                  <a:pt x="474914" y="89201"/>
                  <a:pt x="516229" y="35083"/>
                  <a:pt x="575110" y="11967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77595D8-1B24-7810-D873-A628987C33A1}"/>
              </a:ext>
            </a:extLst>
          </p:cNvPr>
          <p:cNvGrpSpPr/>
          <p:nvPr/>
        </p:nvGrpSpPr>
        <p:grpSpPr>
          <a:xfrm>
            <a:off x="7105693" y="3608639"/>
            <a:ext cx="90717" cy="16805"/>
            <a:chOff x="8356523" y="4238752"/>
            <a:chExt cx="487867" cy="88274"/>
          </a:xfrm>
          <a:solidFill>
            <a:srgbClr val="E04B4F"/>
          </a:solidFill>
        </p:grpSpPr>
        <p:sp>
          <p:nvSpPr>
            <p:cNvPr id="31" name="Freeform: Shape 48">
              <a:extLst>
                <a:ext uri="{FF2B5EF4-FFF2-40B4-BE49-F238E27FC236}">
                  <a16:creationId xmlns:a16="http://schemas.microsoft.com/office/drawing/2014/main" id="{73AC8355-9B20-C317-0D42-0001DB215499}"/>
                </a:ext>
              </a:extLst>
            </p:cNvPr>
            <p:cNvSpPr/>
            <p:nvPr/>
          </p:nvSpPr>
          <p:spPr>
            <a:xfrm>
              <a:off x="8785658" y="4238752"/>
              <a:ext cx="58732" cy="58674"/>
            </a:xfrm>
            <a:custGeom>
              <a:avLst/>
              <a:gdLst>
                <a:gd name="connsiteX0" fmla="*/ 29344 w 58732"/>
                <a:gd name="connsiteY0" fmla="*/ 58675 h 58674"/>
                <a:gd name="connsiteX1" fmla="*/ 58733 w 58732"/>
                <a:gd name="connsiteY1" fmla="*/ 29329 h 58674"/>
                <a:gd name="connsiteX2" fmla="*/ 29344 w 58732"/>
                <a:gd name="connsiteY2" fmla="*/ 0 h 58674"/>
                <a:gd name="connsiteX3" fmla="*/ 28 w 58732"/>
                <a:gd name="connsiteY3" fmla="*/ 28051 h 58674"/>
                <a:gd name="connsiteX4" fmla="*/ 29344 w 58732"/>
                <a:gd name="connsiteY4" fmla="*/ 58675 h 5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732" h="58674">
                  <a:moveTo>
                    <a:pt x="29344" y="58675"/>
                  </a:moveTo>
                  <a:cubicBezTo>
                    <a:pt x="45314" y="58675"/>
                    <a:pt x="58733" y="45275"/>
                    <a:pt x="58733" y="29329"/>
                  </a:cubicBezTo>
                  <a:cubicBezTo>
                    <a:pt x="58733" y="13399"/>
                    <a:pt x="45305" y="0"/>
                    <a:pt x="29344" y="0"/>
                  </a:cubicBezTo>
                  <a:cubicBezTo>
                    <a:pt x="13821" y="0"/>
                    <a:pt x="708" y="12595"/>
                    <a:pt x="28" y="28051"/>
                  </a:cubicBezTo>
                  <a:cubicBezTo>
                    <a:pt x="-697" y="44496"/>
                    <a:pt x="12831" y="58675"/>
                    <a:pt x="29344" y="58675"/>
                  </a:cubicBezTo>
                  <a:close/>
                </a:path>
              </a:pathLst>
            </a:custGeom>
            <a:grpFill/>
            <a:ln w="23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IN" ker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Freeform: Shape 49">
              <a:extLst>
                <a:ext uri="{FF2B5EF4-FFF2-40B4-BE49-F238E27FC236}">
                  <a16:creationId xmlns:a16="http://schemas.microsoft.com/office/drawing/2014/main" id="{E76E13D4-CA22-06FD-F7B6-33663D137CDB}"/>
                </a:ext>
              </a:extLst>
            </p:cNvPr>
            <p:cNvSpPr/>
            <p:nvPr/>
          </p:nvSpPr>
          <p:spPr>
            <a:xfrm>
              <a:off x="8356523" y="4268352"/>
              <a:ext cx="58742" cy="58674"/>
            </a:xfrm>
            <a:custGeom>
              <a:avLst/>
              <a:gdLst>
                <a:gd name="connsiteX0" fmla="*/ 29362 w 58742"/>
                <a:gd name="connsiteY0" fmla="*/ 58675 h 58674"/>
                <a:gd name="connsiteX1" fmla="*/ 58743 w 58742"/>
                <a:gd name="connsiteY1" fmla="*/ 29346 h 58674"/>
                <a:gd name="connsiteX2" fmla="*/ 29362 w 58742"/>
                <a:gd name="connsiteY2" fmla="*/ 0 h 58674"/>
                <a:gd name="connsiteX3" fmla="*/ 27 w 58742"/>
                <a:gd name="connsiteY3" fmla="*/ 28051 h 58674"/>
                <a:gd name="connsiteX4" fmla="*/ 29362 w 58742"/>
                <a:gd name="connsiteY4" fmla="*/ 58675 h 5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742" h="58674">
                  <a:moveTo>
                    <a:pt x="29362" y="58675"/>
                  </a:moveTo>
                  <a:cubicBezTo>
                    <a:pt x="45332" y="58675"/>
                    <a:pt x="58733" y="45282"/>
                    <a:pt x="58743" y="29346"/>
                  </a:cubicBezTo>
                  <a:cubicBezTo>
                    <a:pt x="58743" y="13390"/>
                    <a:pt x="45332" y="0"/>
                    <a:pt x="29362" y="0"/>
                  </a:cubicBezTo>
                  <a:cubicBezTo>
                    <a:pt x="13846" y="0"/>
                    <a:pt x="717" y="12595"/>
                    <a:pt x="27" y="28051"/>
                  </a:cubicBezTo>
                  <a:cubicBezTo>
                    <a:pt x="-690" y="44468"/>
                    <a:pt x="12866" y="58675"/>
                    <a:pt x="29362" y="58675"/>
                  </a:cubicBezTo>
                  <a:close/>
                </a:path>
              </a:pathLst>
            </a:custGeom>
            <a:grpFill/>
            <a:ln w="23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IN" ker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33" name="TextBox 41">
            <a:extLst>
              <a:ext uri="{FF2B5EF4-FFF2-40B4-BE49-F238E27FC236}">
                <a16:creationId xmlns:a16="http://schemas.microsoft.com/office/drawing/2014/main" id="{B25C2B47-FBE5-0410-E244-876F0C06A19B}"/>
              </a:ext>
            </a:extLst>
          </p:cNvPr>
          <p:cNvSpPr txBox="1"/>
          <p:nvPr/>
        </p:nvSpPr>
        <p:spPr>
          <a:xfrm>
            <a:off x="5983424" y="1849964"/>
            <a:ext cx="117801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00" ker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FS</a:t>
            </a:r>
            <a:br>
              <a:rPr lang="en-US" sz="1100" ker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100" ker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novation Labs</a:t>
            </a:r>
          </a:p>
        </p:txBody>
      </p:sp>
      <p:sp>
        <p:nvSpPr>
          <p:cNvPr id="34" name="TextBox 42">
            <a:extLst>
              <a:ext uri="{FF2B5EF4-FFF2-40B4-BE49-F238E27FC236}">
                <a16:creationId xmlns:a16="http://schemas.microsoft.com/office/drawing/2014/main" id="{C0DB5FCE-9EA1-ED61-6CA4-2FD9ECFAB4B7}"/>
              </a:ext>
            </a:extLst>
          </p:cNvPr>
          <p:cNvSpPr txBox="1"/>
          <p:nvPr/>
        </p:nvSpPr>
        <p:spPr>
          <a:xfrm>
            <a:off x="6340478" y="3082810"/>
            <a:ext cx="129582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rnal &amp; 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li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ackathons</a:t>
            </a:r>
          </a:p>
        </p:txBody>
      </p:sp>
      <p:sp>
        <p:nvSpPr>
          <p:cNvPr id="35" name="TextBox 43">
            <a:extLst>
              <a:ext uri="{FF2B5EF4-FFF2-40B4-BE49-F238E27FC236}">
                <a16:creationId xmlns:a16="http://schemas.microsoft.com/office/drawing/2014/main" id="{3F6CE4A2-F75D-C4AE-FC25-147911737512}"/>
              </a:ext>
            </a:extLst>
          </p:cNvPr>
          <p:cNvSpPr txBox="1"/>
          <p:nvPr/>
        </p:nvSpPr>
        <p:spPr>
          <a:xfrm>
            <a:off x="5290863" y="4138314"/>
            <a:ext cx="115196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erging Tech – Collaboration with Academia &amp; startups</a:t>
            </a:r>
          </a:p>
        </p:txBody>
      </p:sp>
      <p:sp>
        <p:nvSpPr>
          <p:cNvPr id="36" name="TextBox 44">
            <a:extLst>
              <a:ext uri="{FF2B5EF4-FFF2-40B4-BE49-F238E27FC236}">
                <a16:creationId xmlns:a16="http://schemas.microsoft.com/office/drawing/2014/main" id="{FF2358CF-0FF1-5AB9-8015-13195E1F3A94}"/>
              </a:ext>
            </a:extLst>
          </p:cNvPr>
          <p:cNvSpPr txBox="1"/>
          <p:nvPr/>
        </p:nvSpPr>
        <p:spPr>
          <a:xfrm>
            <a:off x="4117788" y="3038534"/>
            <a:ext cx="1083639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Joint Value Propositions &amp; Collaboration with Partners</a:t>
            </a:r>
          </a:p>
        </p:txBody>
      </p:sp>
      <p:sp>
        <p:nvSpPr>
          <p:cNvPr id="37" name="TextBox 45">
            <a:extLst>
              <a:ext uri="{FF2B5EF4-FFF2-40B4-BE49-F238E27FC236}">
                <a16:creationId xmlns:a16="http://schemas.microsoft.com/office/drawing/2014/main" id="{CF957C31-7ECA-2A37-AF13-8D4DC529A0F2}"/>
              </a:ext>
            </a:extLst>
          </p:cNvPr>
          <p:cNvSpPr txBox="1"/>
          <p:nvPr/>
        </p:nvSpPr>
        <p:spPr>
          <a:xfrm>
            <a:off x="4649814" y="1822749"/>
            <a:ext cx="117801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100" ker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-Innovation with Clients</a:t>
            </a:r>
          </a:p>
        </p:txBody>
      </p:sp>
      <p:sp>
        <p:nvSpPr>
          <p:cNvPr id="38" name="TextBox 57">
            <a:extLst>
              <a:ext uri="{FF2B5EF4-FFF2-40B4-BE49-F238E27FC236}">
                <a16:creationId xmlns:a16="http://schemas.microsoft.com/office/drawing/2014/main" id="{3CEA7706-BB3E-EA13-50DF-B276ADBE8510}"/>
              </a:ext>
            </a:extLst>
          </p:cNvPr>
          <p:cNvSpPr txBox="1"/>
          <p:nvPr/>
        </p:nvSpPr>
        <p:spPr>
          <a:xfrm>
            <a:off x="9231158" y="2175665"/>
            <a:ext cx="223210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xperience Center for Immersive Technologies - India 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26F9C85-70A6-52F1-043F-057E248EAA3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41802" y="4293002"/>
            <a:ext cx="1082386" cy="597477"/>
          </a:xfrm>
          <a:prstGeom prst="rect">
            <a:avLst/>
          </a:prstGeom>
        </p:spPr>
      </p:pic>
      <p:sp>
        <p:nvSpPr>
          <p:cNvPr id="40" name="TextBox 59">
            <a:extLst>
              <a:ext uri="{FF2B5EF4-FFF2-40B4-BE49-F238E27FC236}">
                <a16:creationId xmlns:a16="http://schemas.microsoft.com/office/drawing/2014/main" id="{3DFEB09B-575B-490A-8384-3686B454C501}"/>
              </a:ext>
            </a:extLst>
          </p:cNvPr>
          <p:cNvSpPr txBox="1"/>
          <p:nvPr/>
        </p:nvSpPr>
        <p:spPr>
          <a:xfrm>
            <a:off x="9231158" y="1644333"/>
            <a:ext cx="251094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SG Analytics, Open Finance, Gamification, New Business Models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750BD65-EB9A-6F8C-31CC-311BF677EF52}"/>
              </a:ext>
            </a:extLst>
          </p:cNvPr>
          <p:cNvCxnSpPr/>
          <p:nvPr/>
        </p:nvCxnSpPr>
        <p:spPr>
          <a:xfrm flipH="1">
            <a:off x="3866940" y="1781632"/>
            <a:ext cx="64896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7E0F36F-5DDF-ED9E-98EB-B3CC99188311}"/>
              </a:ext>
            </a:extLst>
          </p:cNvPr>
          <p:cNvCxnSpPr>
            <a:cxnSpLocks/>
          </p:cNvCxnSpPr>
          <p:nvPr/>
        </p:nvCxnSpPr>
        <p:spPr>
          <a:xfrm flipH="1">
            <a:off x="3548127" y="3979656"/>
            <a:ext cx="615262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41CB5CF-4605-CCD7-6C37-AEBE0DE5157C}"/>
              </a:ext>
            </a:extLst>
          </p:cNvPr>
          <p:cNvCxnSpPr>
            <a:cxnSpLocks/>
          </p:cNvCxnSpPr>
          <p:nvPr/>
        </p:nvCxnSpPr>
        <p:spPr>
          <a:xfrm>
            <a:off x="7628622" y="3941384"/>
            <a:ext cx="626326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C633D22-8BCD-2565-29EE-088D7E0502E4}"/>
              </a:ext>
            </a:extLst>
          </p:cNvPr>
          <p:cNvCxnSpPr>
            <a:cxnSpLocks/>
          </p:cNvCxnSpPr>
          <p:nvPr/>
        </p:nvCxnSpPr>
        <p:spPr>
          <a:xfrm>
            <a:off x="7161442" y="1726150"/>
            <a:ext cx="626326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029D62E2-57B0-3291-E5D5-6BD4E162B9FD}"/>
              </a:ext>
            </a:extLst>
          </p:cNvPr>
          <p:cNvCxnSpPr>
            <a:cxnSpLocks/>
          </p:cNvCxnSpPr>
          <p:nvPr/>
        </p:nvCxnSpPr>
        <p:spPr>
          <a:xfrm>
            <a:off x="5853046" y="5044897"/>
            <a:ext cx="0" cy="270419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6" name="TextBox 112">
            <a:extLst>
              <a:ext uri="{FF2B5EF4-FFF2-40B4-BE49-F238E27FC236}">
                <a16:creationId xmlns:a16="http://schemas.microsoft.com/office/drawing/2014/main" id="{80436504-2168-4E07-23D7-7526874ECC68}"/>
              </a:ext>
            </a:extLst>
          </p:cNvPr>
          <p:cNvSpPr txBox="1"/>
          <p:nvPr/>
        </p:nvSpPr>
        <p:spPr>
          <a:xfrm>
            <a:off x="317997" y="1818108"/>
            <a:ext cx="264674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lockchain based Bond issuance and trading platform 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822D4D19-581C-E8DA-56A9-A9445D23BF9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4894" y="2620003"/>
            <a:ext cx="1060083" cy="1060083"/>
          </a:xfrm>
          <a:prstGeom prst="rect">
            <a:avLst/>
          </a:prstGeom>
        </p:spPr>
      </p:pic>
      <p:pic>
        <p:nvPicPr>
          <p:cNvPr id="48" name="Picture 47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6AD357C4-983C-7F5E-C20D-075F74C37D0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6841" y="4392430"/>
            <a:ext cx="498437" cy="298232"/>
          </a:xfrm>
          <a:prstGeom prst="rect">
            <a:avLst/>
          </a:prstGeom>
        </p:spPr>
      </p:pic>
      <p:pic>
        <p:nvPicPr>
          <p:cNvPr id="49" name="Picture 48" descr="Icon&#10;&#10;Description automatically generated">
            <a:extLst>
              <a:ext uri="{FF2B5EF4-FFF2-40B4-BE49-F238E27FC236}">
                <a16:creationId xmlns:a16="http://schemas.microsoft.com/office/drawing/2014/main" id="{724432E8-409D-E133-5FA3-A88B84A75CF4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0179" y="4389176"/>
            <a:ext cx="522984" cy="227751"/>
          </a:xfrm>
          <a:prstGeom prst="rect">
            <a:avLst/>
          </a:prstGeom>
        </p:spPr>
      </p:pic>
      <p:pic>
        <p:nvPicPr>
          <p:cNvPr id="50" name="Picture 49" descr="Citibank India - Wikipedia">
            <a:extLst>
              <a:ext uri="{FF2B5EF4-FFF2-40B4-BE49-F238E27FC236}">
                <a16:creationId xmlns:a16="http://schemas.microsoft.com/office/drawing/2014/main" id="{C10A7D66-891E-4DB3-9B0B-5F396B91B4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67582" y="1494487"/>
            <a:ext cx="335473" cy="218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123">
            <a:extLst>
              <a:ext uri="{FF2B5EF4-FFF2-40B4-BE49-F238E27FC236}">
                <a16:creationId xmlns:a16="http://schemas.microsoft.com/office/drawing/2014/main" id="{64DCA1C6-8EC6-5DC2-B249-16D7D502AFC9}"/>
              </a:ext>
            </a:extLst>
          </p:cNvPr>
          <p:cNvSpPr txBox="1"/>
          <p:nvPr/>
        </p:nvSpPr>
        <p:spPr>
          <a:xfrm>
            <a:off x="359699" y="2292871"/>
            <a:ext cx="261435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rtnering with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intech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to improve credit underwriting &amp; microlending</a:t>
            </a:r>
          </a:p>
        </p:txBody>
      </p:sp>
      <p:sp>
        <p:nvSpPr>
          <p:cNvPr id="52" name="TextBox 125">
            <a:extLst>
              <a:ext uri="{FF2B5EF4-FFF2-40B4-BE49-F238E27FC236}">
                <a16:creationId xmlns:a16="http://schemas.microsoft.com/office/drawing/2014/main" id="{EDA0EB4B-A7D3-6A7E-C57A-B5D11C560926}"/>
              </a:ext>
            </a:extLst>
          </p:cNvPr>
          <p:cNvSpPr txBox="1"/>
          <p:nvPr/>
        </p:nvSpPr>
        <p:spPr>
          <a:xfrm>
            <a:off x="9190041" y="1100603"/>
            <a:ext cx="251094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novation as a service, digital sandbox and asset marketplace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3" name="TextBox 126">
            <a:extLst>
              <a:ext uri="{FF2B5EF4-FFF2-40B4-BE49-F238E27FC236}">
                <a16:creationId xmlns:a16="http://schemas.microsoft.com/office/drawing/2014/main" id="{E2EC1214-686B-B623-A696-7DD8CDB2A04B}"/>
              </a:ext>
            </a:extLst>
          </p:cNvPr>
          <p:cNvSpPr txBox="1"/>
          <p:nvPr/>
        </p:nvSpPr>
        <p:spPr>
          <a:xfrm>
            <a:off x="7956220" y="1233050"/>
            <a:ext cx="10634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600" b="1">
                <a:solidFill>
                  <a:srgbClr val="00249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FS Labs</a:t>
            </a:r>
          </a:p>
        </p:txBody>
      </p:sp>
      <p:pic>
        <p:nvPicPr>
          <p:cNvPr id="54" name="Picture 53" descr="Press Kit | Thought Machine">
            <a:extLst>
              <a:ext uri="{FF2B5EF4-FFF2-40B4-BE49-F238E27FC236}">
                <a16:creationId xmlns:a16="http://schemas.microsoft.com/office/drawing/2014/main" id="{F119E365-9567-F41F-8B7C-512C80265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61225" y="3530289"/>
            <a:ext cx="636326" cy="177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B3ACDDA6-5641-8F7E-9DF3-63168894251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964738" y="3983195"/>
            <a:ext cx="370581" cy="215643"/>
          </a:xfrm>
          <a:prstGeom prst="rect">
            <a:avLst/>
          </a:prstGeom>
        </p:spPr>
      </p:pic>
      <p:pic>
        <p:nvPicPr>
          <p:cNvPr id="56" name="Picture 55" descr="M2P Fintech – Medium">
            <a:extLst>
              <a:ext uri="{FF2B5EF4-FFF2-40B4-BE49-F238E27FC236}">
                <a16:creationId xmlns:a16="http://schemas.microsoft.com/office/drawing/2014/main" id="{6635D82B-F360-C622-4561-83CCE39CF8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695" y="3953813"/>
            <a:ext cx="264658" cy="264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492044DB-EAB3-0A59-4341-9C16ABA8171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72792" y="3897906"/>
            <a:ext cx="456742" cy="32206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3233192F-FA5A-31FE-B996-A8B9326855A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520908" y="3955188"/>
            <a:ext cx="506131" cy="211715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F9EF6238-74B3-743B-6BB4-B0EB1CA7A681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79859" y="3545184"/>
            <a:ext cx="704656" cy="157563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5E1343D1-B80E-62B4-C86F-F563C4A745B3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0484" y="1706828"/>
            <a:ext cx="668122" cy="415825"/>
          </a:xfrm>
          <a:custGeom>
            <a:avLst/>
            <a:gdLst>
              <a:gd name="connsiteX0" fmla="*/ 139 w 832640"/>
              <a:gd name="connsiteY0" fmla="*/ 199 h 403508"/>
              <a:gd name="connsiteX1" fmla="*/ 832779 w 832640"/>
              <a:gd name="connsiteY1" fmla="*/ 199 h 403508"/>
              <a:gd name="connsiteX2" fmla="*/ 832779 w 832640"/>
              <a:gd name="connsiteY2" fmla="*/ 403707 h 403508"/>
              <a:gd name="connsiteX3" fmla="*/ 139 w 832640"/>
              <a:gd name="connsiteY3" fmla="*/ 403707 h 403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640" h="403508">
                <a:moveTo>
                  <a:pt x="139" y="199"/>
                </a:moveTo>
                <a:lnTo>
                  <a:pt x="832779" y="199"/>
                </a:lnTo>
                <a:lnTo>
                  <a:pt x="832779" y="403707"/>
                </a:lnTo>
                <a:lnTo>
                  <a:pt x="139" y="403707"/>
                </a:lnTo>
                <a:close/>
              </a:path>
            </a:pathLst>
          </a:custGeom>
        </p:spPr>
      </p:pic>
      <p:pic>
        <p:nvPicPr>
          <p:cNvPr id="61" name="Picture 60">
            <a:hlinkClick r:id="rId21"/>
            <a:extLst>
              <a:ext uri="{FF2B5EF4-FFF2-40B4-BE49-F238E27FC236}">
                <a16:creationId xmlns:a16="http://schemas.microsoft.com/office/drawing/2014/main" id="{0A5D8584-6CC2-3CF1-9779-65F84FC36600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5746" y="4443007"/>
            <a:ext cx="282228" cy="28222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5BFB1AD8-9ECD-7771-D4EC-AFFB3F6D118D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159895" y="3524447"/>
            <a:ext cx="426851" cy="17830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DB83DB2D-5D70-37EB-9906-6DC5BD206A03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138955" y="4002860"/>
            <a:ext cx="639928" cy="205229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E1057D71-2C38-94D9-7978-913A57BF93F8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39414" y="3489133"/>
            <a:ext cx="834748" cy="253346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F96EA00B-9B2C-0BE7-9F0E-0817A676C79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8047" y="1948613"/>
            <a:ext cx="618035" cy="19489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6ABE01A0-5422-C1C8-4758-1FBA4889EB7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7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8839" y="2421847"/>
            <a:ext cx="287965" cy="264374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820094C6-A93D-805E-A37F-40A94287D529}"/>
              </a:ext>
            </a:extLst>
          </p:cNvPr>
          <p:cNvSpPr txBox="1"/>
          <p:nvPr/>
        </p:nvSpPr>
        <p:spPr>
          <a:xfrm>
            <a:off x="6692326" y="5390533"/>
            <a:ext cx="1906437" cy="964634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15000"/>
              </a:lnSpc>
              <a:spcAft>
                <a:spcPts val="800"/>
              </a:spcAft>
            </a:pPr>
            <a:r>
              <a:rPr lang="en-IN" sz="1100" b="1" kern="100">
                <a:solidFill>
                  <a:schemeClr val="accent1">
                    <a:lumMod val="50000"/>
                  </a:schemeClr>
                </a:solidFill>
                <a:effectLst/>
                <a:latin typeface="Segoe UI" panose="020B0502040204020203" pitchFamily="34" charset="0"/>
                <a:ea typeface="Aptos" panose="020B0004020202020204" pitchFamily="34" charset="0"/>
                <a:cs typeface="Segoe UI" panose="020B0502040204020203" pitchFamily="34" charset="0"/>
              </a:rPr>
              <a:t>MT</a:t>
            </a:r>
            <a:r>
              <a:rPr lang="en-IN" sz="1100" b="1" kern="100" baseline="30000">
                <a:solidFill>
                  <a:schemeClr val="accent1">
                    <a:lumMod val="50000"/>
                  </a:schemeClr>
                </a:solidFill>
                <a:effectLst/>
                <a:latin typeface="Segoe UI" panose="020B0502040204020203" pitchFamily="34" charset="0"/>
                <a:ea typeface="Aptos" panose="020B0004020202020204" pitchFamily="34" charset="0"/>
                <a:cs typeface="Segoe UI" panose="020B0502040204020203" pitchFamily="34" charset="0"/>
              </a:rPr>
              <a:t>2</a:t>
            </a:r>
            <a:r>
              <a:rPr lang="en-US" sz="1100" b="1" u="sng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 –</a:t>
            </a:r>
            <a:r>
              <a:rPr lang="en-US" sz="1100" b="1" u="sng">
                <a:solidFill>
                  <a:srgbClr val="00249A"/>
                </a:solidFill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 Message Transformation Tool</a:t>
            </a:r>
          </a:p>
          <a:p>
            <a:pPr algn="ctr" defTabSz="1219140" fontAlgn="base">
              <a:lnSpc>
                <a:spcPts val="1333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44546A">
                    <a:lumMod val="95000"/>
                    <a:lumOff val="5000"/>
                  </a:srgbClr>
                </a:solidFill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rPr>
              <a:t>Payment Message transformation tool for faster ISO20022 adoption</a:t>
            </a:r>
          </a:p>
        </p:txBody>
      </p:sp>
      <p:sp>
        <p:nvSpPr>
          <p:cNvPr id="68" name="Title 67">
            <a:extLst>
              <a:ext uri="{FF2B5EF4-FFF2-40B4-BE49-F238E27FC236}">
                <a16:creationId xmlns:a16="http://schemas.microsoft.com/office/drawing/2014/main" id="{D799D02F-C711-B4C7-F93C-CA97C8D69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everaging our Innovation Ecosystem / BFS Labs for delivering value - Idea to industrializati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624308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13977C2-8C34-CB2E-C1E7-3BAB72E1AB4B}"/>
              </a:ext>
            </a:extLst>
          </p:cNvPr>
          <p:cNvSpPr txBox="1"/>
          <p:nvPr/>
        </p:nvSpPr>
        <p:spPr>
          <a:xfrm>
            <a:off x="10044494" y="250995"/>
            <a:ext cx="1825510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bold"/>
                <a:ea typeface="+mn-ea"/>
                <a:cs typeface="Segoe UI" panose="020B0502040204020203" pitchFamily="34" charset="0"/>
              </a:rPr>
              <a:t>BFS Practic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50E19D4-335F-6ED4-BA2B-A462B829F915}"/>
              </a:ext>
            </a:extLst>
          </p:cNvPr>
          <p:cNvSpPr txBox="1">
            <a:spLocks/>
          </p:cNvSpPr>
          <p:nvPr/>
        </p:nvSpPr>
        <p:spPr>
          <a:xfrm>
            <a:off x="1308612" y="635094"/>
            <a:ext cx="11604625" cy="60325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fontAlgn="base">
              <a:spcAft>
                <a:spcPct val="0"/>
              </a:spcAft>
              <a:buClr>
                <a:srgbClr val="0088CE"/>
              </a:buClr>
              <a:buSzTx/>
              <a:tabLst/>
              <a:defRPr/>
            </a:pPr>
            <a:endParaRPr lang="en-US" sz="2400" b="1" dirty="0">
              <a:solidFill>
                <a:prstClr val="black"/>
              </a:solidFill>
              <a:latin typeface="Frutiger 45 bold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BE417D-F7E0-2109-C832-649B86CE2C1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491" y="1468689"/>
            <a:ext cx="5047196" cy="2601810"/>
          </a:xfrm>
          <a:prstGeom prst="rect">
            <a:avLst/>
          </a:prstGeom>
        </p:spPr>
      </p:pic>
      <p:sp>
        <p:nvSpPr>
          <p:cNvPr id="5" name="TextBox 189">
            <a:extLst>
              <a:ext uri="{FF2B5EF4-FFF2-40B4-BE49-F238E27FC236}">
                <a16:creationId xmlns:a16="http://schemas.microsoft.com/office/drawing/2014/main" id="{06E66948-43C3-FCE9-3F50-6516F6CC6417}"/>
              </a:ext>
            </a:extLst>
          </p:cNvPr>
          <p:cNvSpPr txBox="1"/>
          <p:nvPr/>
        </p:nvSpPr>
        <p:spPr>
          <a:xfrm>
            <a:off x="280718" y="1037425"/>
            <a:ext cx="5281908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bold"/>
                <a:ea typeface="STKaiti"/>
                <a:cs typeface="Segoe UI"/>
              </a:rPr>
              <a:t>30+ AI/GenAI solution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bold"/>
                <a:ea typeface="STKaiti"/>
                <a:cs typeface="Segoe UI"/>
              </a:rPr>
              <a:t>in our fAInance Marketplac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FF1AD73-3843-0411-CDC3-534AF30DF3F3}"/>
              </a:ext>
            </a:extLst>
          </p:cNvPr>
          <p:cNvGrpSpPr/>
          <p:nvPr/>
        </p:nvGrpSpPr>
        <p:grpSpPr>
          <a:xfrm>
            <a:off x="142421" y="4235774"/>
            <a:ext cx="5349337" cy="1595473"/>
            <a:chOff x="75890" y="4417578"/>
            <a:chExt cx="5923562" cy="159547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7C611EE-D470-24BA-90E4-53C0791A16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671" y="5010172"/>
              <a:ext cx="1586653" cy="983278"/>
            </a:xfrm>
            <a:prstGeom prst="rect">
              <a:avLst/>
            </a:prstGeom>
          </p:spPr>
        </p:pic>
        <p:sp>
          <p:nvSpPr>
            <p:cNvPr id="8" name="TextBox 189">
              <a:extLst>
                <a:ext uri="{FF2B5EF4-FFF2-40B4-BE49-F238E27FC236}">
                  <a16:creationId xmlns:a16="http://schemas.microsoft.com/office/drawing/2014/main" id="{F90E3AB1-9BCA-36D0-65B4-5A3F5CA66543}"/>
                </a:ext>
              </a:extLst>
            </p:cNvPr>
            <p:cNvSpPr txBox="1"/>
            <p:nvPr/>
          </p:nvSpPr>
          <p:spPr>
            <a:xfrm>
              <a:off x="169563" y="4417578"/>
              <a:ext cx="14268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4B88">
                      <a:lumMod val="50000"/>
                    </a:srgbClr>
                  </a:solidFill>
                  <a:effectLst/>
                  <a:uLnTx/>
                  <a:uFillTx/>
                  <a:latin typeface="Frutiger 45 bold"/>
                  <a:ea typeface="STKaiti"/>
                  <a:cs typeface="Segoe UI" panose="020B0502040204020203" pitchFamily="34" charset="0"/>
                </a:rPr>
                <a:t>1200+</a:t>
              </a:r>
            </a:p>
          </p:txBody>
        </p:sp>
        <p:sp>
          <p:nvSpPr>
            <p:cNvPr id="9" name="TextBox 190">
              <a:extLst>
                <a:ext uri="{FF2B5EF4-FFF2-40B4-BE49-F238E27FC236}">
                  <a16:creationId xmlns:a16="http://schemas.microsoft.com/office/drawing/2014/main" id="{0407D96E-97DF-8E95-F1D4-43A97B452DEA}"/>
                </a:ext>
              </a:extLst>
            </p:cNvPr>
            <p:cNvSpPr txBox="1"/>
            <p:nvPr/>
          </p:nvSpPr>
          <p:spPr>
            <a:xfrm>
              <a:off x="75890" y="4733173"/>
              <a:ext cx="1645268" cy="27699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utiger 45 bold"/>
                  <a:ea typeface="STKaiti"/>
                  <a:cs typeface="Segoe UI"/>
                </a:rPr>
                <a:t>AI Use Cases For BFS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C757554-EE4E-A774-DB67-52033C74D4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69137" y="5106902"/>
              <a:ext cx="1368512" cy="785154"/>
            </a:xfrm>
            <a:prstGeom prst="rect">
              <a:avLst/>
            </a:prstGeom>
          </p:spPr>
        </p:pic>
        <p:sp>
          <p:nvSpPr>
            <p:cNvPr id="11" name="TextBox 192">
              <a:extLst>
                <a:ext uri="{FF2B5EF4-FFF2-40B4-BE49-F238E27FC236}">
                  <a16:creationId xmlns:a16="http://schemas.microsoft.com/office/drawing/2014/main" id="{4CC30591-2B3B-0096-702D-0BFADC753E69}"/>
                </a:ext>
              </a:extLst>
            </p:cNvPr>
            <p:cNvSpPr txBox="1"/>
            <p:nvPr/>
          </p:nvSpPr>
          <p:spPr>
            <a:xfrm>
              <a:off x="1985183" y="4530835"/>
              <a:ext cx="1587076" cy="461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utiger 45 bold"/>
                  <a:ea typeface="STKaiti"/>
                  <a:cs typeface="Segoe UI"/>
                </a:rPr>
                <a:t>GenAI Foundational Platform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BD65966-FADE-E9D2-D0F2-FA64499C3137}"/>
                </a:ext>
              </a:extLst>
            </p:cNvPr>
            <p:cNvSpPr txBox="1"/>
            <p:nvPr/>
          </p:nvSpPr>
          <p:spPr>
            <a:xfrm>
              <a:off x="3869584" y="4452070"/>
              <a:ext cx="1832554" cy="253916"/>
            </a:xfrm>
            <a:prstGeom prst="rect">
              <a:avLst/>
            </a:prstGeom>
            <a:noFill/>
          </p:spPr>
          <p:txBody>
            <a:bodyPr wrap="square" anchor="t">
              <a:spAutoFit/>
            </a:bodyPr>
            <a:lstStyle>
              <a:defPPr>
                <a:defRPr lang="en-US"/>
              </a:defPPr>
              <a:lvl1pPr algn="ctr">
                <a:defRPr sz="1050" b="1" kern="0">
                  <a:solidFill>
                    <a:prstClr val="black">
                      <a:lumMod val="50000"/>
                    </a:prstClr>
                  </a:solidFill>
                  <a:latin typeface="Avenir" panose="02000503020000020003" pitchFamily="2" charset="0"/>
                  <a:cs typeface="Calibri" panose="020F050202020403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50000"/>
                    </a:prstClr>
                  </a:solidFill>
                  <a:effectLst/>
                  <a:uLnTx/>
                  <a:uFillTx/>
                  <a:latin typeface="Frutiger 45 bold"/>
                  <a:ea typeface="+mn-ea"/>
                  <a:cs typeface="Segoe UI" panose="020B0502040204020203" pitchFamily="34" charset="0"/>
                </a:rPr>
                <a:t>Global GSI partner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1DBABFE-8DF0-93AE-14A9-628C9DAF03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8226" y="4776277"/>
              <a:ext cx="815770" cy="1529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C8CA5E9-E62A-A41D-FE45-A74D8C559B7E}"/>
                </a:ext>
              </a:extLst>
            </p:cNvPr>
            <p:cNvSpPr txBox="1"/>
            <p:nvPr/>
          </p:nvSpPr>
          <p:spPr>
            <a:xfrm>
              <a:off x="4603995" y="4705986"/>
              <a:ext cx="1395457" cy="369332"/>
            </a:xfrm>
            <a:prstGeom prst="rect">
              <a:avLst/>
            </a:prstGeom>
            <a:noFill/>
          </p:spPr>
          <p:txBody>
            <a:bodyPr wrap="square" anchor="t">
              <a:spAutoFit/>
            </a:bodyPr>
            <a:lstStyle>
              <a:defPPr>
                <a:defRPr lang="en-US"/>
              </a:defPPr>
              <a:lvl1pPr>
                <a:defRPr sz="1100" b="1" kern="0">
                  <a:solidFill>
                    <a:prstClr val="black">
                      <a:lumMod val="50000"/>
                    </a:prstClr>
                  </a:solidFill>
                  <a:latin typeface="Avenir" panose="02000503020000020003" pitchFamily="2" charset="0"/>
                  <a:cs typeface="Calibri" panose="020F050202020403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50000"/>
                    </a:prstClr>
                  </a:solidFill>
                  <a:effectLst/>
                  <a:uLnTx/>
                  <a:uFillTx/>
                  <a:latin typeface="Frutiger 45 bold"/>
                  <a:ea typeface="+mn-ea"/>
                  <a:cs typeface="Segoe UI" panose="020B0502040204020203" pitchFamily="34" charset="0"/>
                </a:rPr>
                <a:t>leader in GPU technology &amp; AI solution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F54BFD3-46FA-BE57-2B72-65A0738E8103}"/>
                </a:ext>
              </a:extLst>
            </p:cNvPr>
            <p:cNvSpPr txBox="1"/>
            <p:nvPr/>
          </p:nvSpPr>
          <p:spPr>
            <a:xfrm>
              <a:off x="3653298" y="5099477"/>
              <a:ext cx="1166984" cy="577081"/>
            </a:xfrm>
            <a:prstGeom prst="rect">
              <a:avLst/>
            </a:prstGeom>
            <a:noFill/>
          </p:spPr>
          <p:txBody>
            <a:bodyPr wrap="square" anchor="t">
              <a:spAutoFit/>
            </a:bodyPr>
            <a:lstStyle>
              <a:defPPr>
                <a:defRPr lang="en-US"/>
              </a:defPPr>
              <a:lvl1pPr algn="ctr">
                <a:defRPr sz="1050" b="1" kern="0">
                  <a:solidFill>
                    <a:prstClr val="black">
                      <a:lumMod val="50000"/>
                    </a:prstClr>
                  </a:solidFill>
                  <a:latin typeface="Avenir" panose="02000503020000020003" pitchFamily="2" charset="0"/>
                  <a:cs typeface="Calibri" panose="020F050202020403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</a:prstClr>
                  </a:solidFill>
                  <a:effectLst/>
                  <a:uLnTx/>
                  <a:uFillTx/>
                  <a:latin typeface="Frutiger 45 bold"/>
                  <a:ea typeface="+mn-ea"/>
                  <a:cs typeface="Segoe UI" panose="020B0502040204020203" pitchFamily="34" charset="0"/>
                </a:rPr>
                <a:t>LTIMindtree GenAI offerings listed on</a:t>
              </a:r>
            </a:p>
          </p:txBody>
        </p:sp>
        <p:pic>
          <p:nvPicPr>
            <p:cNvPr id="16" name="Picture 8" descr="UiPath and AWS Partnership - Scale Enterprise Automation | UiPath">
              <a:extLst>
                <a:ext uri="{FF2B5EF4-FFF2-40B4-BE49-F238E27FC236}">
                  <a16:creationId xmlns:a16="http://schemas.microsoft.com/office/drawing/2014/main" id="{954EF2D3-805E-CA74-3937-BBDC67C43D9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123" t="17306" r="5123" b="13429"/>
            <a:stretch/>
          </p:blipFill>
          <p:spPr bwMode="auto">
            <a:xfrm>
              <a:off x="4790747" y="5425064"/>
              <a:ext cx="946075" cy="1790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0" descr="Microsoft unveils a clean logo for the Azure product">
              <a:extLst>
                <a:ext uri="{FF2B5EF4-FFF2-40B4-BE49-F238E27FC236}">
                  <a16:creationId xmlns:a16="http://schemas.microsoft.com/office/drawing/2014/main" id="{FB494C5C-07D2-166F-7E00-92064D900E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3881" b="33881"/>
            <a:stretch/>
          </p:blipFill>
          <p:spPr bwMode="auto">
            <a:xfrm>
              <a:off x="4785861" y="5150201"/>
              <a:ext cx="987319" cy="1790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9637394-DF89-1633-0B15-5E728243391B}"/>
                </a:ext>
              </a:extLst>
            </p:cNvPr>
            <p:cNvSpPr txBox="1"/>
            <p:nvPr/>
          </p:nvSpPr>
          <p:spPr>
            <a:xfrm>
              <a:off x="3754305" y="5751441"/>
              <a:ext cx="2015809" cy="261610"/>
            </a:xfrm>
            <a:prstGeom prst="rect">
              <a:avLst/>
            </a:prstGeom>
            <a:noFill/>
          </p:spPr>
          <p:txBody>
            <a:bodyPr wrap="square" anchor="t">
              <a:spAutoFit/>
            </a:bodyPr>
            <a:lstStyle>
              <a:defPPr>
                <a:defRPr lang="en-US"/>
              </a:defPPr>
              <a:lvl1pPr algn="ctr">
                <a:defRPr sz="1050" b="1" kern="0">
                  <a:solidFill>
                    <a:prstClr val="black">
                      <a:lumMod val="50000"/>
                    </a:prstClr>
                  </a:solidFill>
                  <a:latin typeface="Avenir" panose="02000503020000020003" pitchFamily="2" charset="0"/>
                  <a:cs typeface="Calibri" panose="020F050202020403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50000"/>
                    </a:prstClr>
                  </a:solidFill>
                  <a:effectLst/>
                  <a:uLnTx/>
                  <a:uFillTx/>
                  <a:latin typeface="Frutiger 45 bold"/>
                  <a:ea typeface="+mn-ea"/>
                  <a:cs typeface="Segoe UI" panose="020B0502040204020203" pitchFamily="34" charset="0"/>
                </a:rPr>
                <a:t>6 academia partnerships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D170FF-37FF-5398-906C-8A61066E0776}"/>
                </a:ext>
              </a:extLst>
            </p:cNvPr>
            <p:cNvCxnSpPr/>
            <p:nvPr/>
          </p:nvCxnSpPr>
          <p:spPr>
            <a:xfrm>
              <a:off x="1853170" y="4596056"/>
              <a:ext cx="0" cy="129600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dashDot"/>
              <a:miter lim="800000"/>
            </a:ln>
            <a:effectLst/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6A1F57C-B649-52E8-3C1B-C8FF929AEB74}"/>
                </a:ext>
              </a:extLst>
            </p:cNvPr>
            <p:cNvCxnSpPr/>
            <p:nvPr/>
          </p:nvCxnSpPr>
          <p:spPr>
            <a:xfrm>
              <a:off x="3653616" y="4596056"/>
              <a:ext cx="0" cy="129600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dashDot"/>
              <a:miter lim="800000"/>
            </a:ln>
            <a:effectLst/>
          </p:spPr>
        </p:cxnSp>
      </p:grpSp>
      <p:sp>
        <p:nvSpPr>
          <p:cNvPr id="21" name="Pentagon 15">
            <a:extLst>
              <a:ext uri="{FF2B5EF4-FFF2-40B4-BE49-F238E27FC236}">
                <a16:creationId xmlns:a16="http://schemas.microsoft.com/office/drawing/2014/main" id="{F274E05A-6653-94E1-565D-CB0FBE79ECC3}"/>
              </a:ext>
            </a:extLst>
          </p:cNvPr>
          <p:cNvSpPr/>
          <p:nvPr/>
        </p:nvSpPr>
        <p:spPr>
          <a:xfrm>
            <a:off x="5515477" y="1503688"/>
            <a:ext cx="168988" cy="4248000"/>
          </a:xfrm>
          <a:prstGeom prst="homePlate">
            <a:avLst>
              <a:gd name="adj" fmla="val 836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45 bold"/>
              <a:ea typeface="+mn-ea"/>
              <a:cs typeface="+mn-cs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F934086A-831B-F036-7125-E4BC39C4E63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548508" y="710284"/>
            <a:ext cx="3888785" cy="238363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azon Ember"/>
                <a:ea typeface="+mn-ea"/>
                <a:cs typeface="+mn-cs"/>
              </a:rPr>
              <a:t>Industrializing AI/GenAI for BFS clients 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3802A5D-0EF6-FF86-5831-30844DF70DAC}"/>
              </a:ext>
            </a:extLst>
          </p:cNvPr>
          <p:cNvGrpSpPr/>
          <p:nvPr/>
        </p:nvGrpSpPr>
        <p:grpSpPr>
          <a:xfrm>
            <a:off x="5862972" y="1203451"/>
            <a:ext cx="1514925" cy="2330272"/>
            <a:chOff x="404752" y="1142776"/>
            <a:chExt cx="2094526" cy="2111981"/>
          </a:xfrm>
        </p:grpSpPr>
        <p:sp>
          <p:nvSpPr>
            <p:cNvPr id="24" name="Rectangle: Rounded Corners 11">
              <a:extLst>
                <a:ext uri="{FF2B5EF4-FFF2-40B4-BE49-F238E27FC236}">
                  <a16:creationId xmlns:a16="http://schemas.microsoft.com/office/drawing/2014/main" id="{6D9A7B78-A79D-37F7-E7E0-2E27A5C2BF61}"/>
                </a:ext>
              </a:extLst>
            </p:cNvPr>
            <p:cNvSpPr/>
            <p:nvPr/>
          </p:nvSpPr>
          <p:spPr>
            <a:xfrm>
              <a:off x="483279" y="1485963"/>
              <a:ext cx="2015999" cy="1766788"/>
            </a:xfrm>
            <a:prstGeom prst="roundRect">
              <a:avLst>
                <a:gd name="adj" fmla="val 5681"/>
              </a:avLst>
            </a:prstGeom>
            <a:noFill/>
            <a:ln w="19050" cap="flat" cmpd="sng" algn="ctr">
              <a:solidFill>
                <a:srgbClr val="DBE9F7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00" b="0" i="0" u="none" strike="noStrike" kern="0" cap="none" spc="0" normalizeH="0" baseline="0" noProof="0">
                <a:ln>
                  <a:noFill/>
                </a:ln>
                <a:solidFill>
                  <a:srgbClr val="DBE9F7">
                    <a:lumMod val="25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Rectangle: Rounded Corners 23">
              <a:extLst>
                <a:ext uri="{FF2B5EF4-FFF2-40B4-BE49-F238E27FC236}">
                  <a16:creationId xmlns:a16="http://schemas.microsoft.com/office/drawing/2014/main" id="{74003516-5DC4-69F9-05A6-58C0FA934C50}"/>
                </a:ext>
              </a:extLst>
            </p:cNvPr>
            <p:cNvSpPr/>
            <p:nvPr/>
          </p:nvSpPr>
          <p:spPr>
            <a:xfrm>
              <a:off x="483278" y="1142776"/>
              <a:ext cx="2015999" cy="540000"/>
            </a:xfrm>
            <a:prstGeom prst="roundRect">
              <a:avLst/>
            </a:prstGeom>
            <a:solidFill>
              <a:srgbClr val="DBE9F7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rPr>
                <a:t>American Financial Services Firm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D1D3DD3-3E3A-C023-3836-EA83CD1D3A51}"/>
                </a:ext>
              </a:extLst>
            </p:cNvPr>
            <p:cNvSpPr txBox="1"/>
            <p:nvPr/>
          </p:nvSpPr>
          <p:spPr>
            <a:xfrm>
              <a:off x="404752" y="2682919"/>
              <a:ext cx="2090658" cy="5718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~60%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Operational Cost Reductio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CA53320-2105-ECC5-E69A-7272A92C258E}"/>
                </a:ext>
              </a:extLst>
            </p:cNvPr>
            <p:cNvSpPr txBox="1"/>
            <p:nvPr/>
          </p:nvSpPr>
          <p:spPr>
            <a:xfrm>
              <a:off x="512773" y="1800970"/>
              <a:ext cx="1957725" cy="6973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Financial Analyst Copilot for Automating Financial Reports</a:t>
              </a:r>
              <a:endParaRPr kumimoji="0" lang="en-IN" sz="1100" b="0" i="0" u="none" strike="noStrike" kern="0" cap="none" spc="0" normalizeH="0" baseline="0" noProof="0">
                <a:ln>
                  <a:noFill/>
                </a:ln>
                <a:solidFill>
                  <a:srgbClr val="DBE9F7">
                    <a:lumMod val="25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20BA76F-F488-26AE-A916-9ACD2D31DB0C}"/>
              </a:ext>
            </a:extLst>
          </p:cNvPr>
          <p:cNvGrpSpPr/>
          <p:nvPr/>
        </p:nvGrpSpPr>
        <p:grpSpPr>
          <a:xfrm>
            <a:off x="5919768" y="3720681"/>
            <a:ext cx="1458128" cy="2263004"/>
            <a:chOff x="1693480" y="3783227"/>
            <a:chExt cx="2015999" cy="2051014"/>
          </a:xfrm>
        </p:grpSpPr>
        <p:sp>
          <p:nvSpPr>
            <p:cNvPr id="29" name="Rectangle: Rounded Corners 18">
              <a:extLst>
                <a:ext uri="{FF2B5EF4-FFF2-40B4-BE49-F238E27FC236}">
                  <a16:creationId xmlns:a16="http://schemas.microsoft.com/office/drawing/2014/main" id="{B4C83C38-0157-FA1A-63BE-6A71F0C31535}"/>
                </a:ext>
              </a:extLst>
            </p:cNvPr>
            <p:cNvSpPr/>
            <p:nvPr/>
          </p:nvSpPr>
          <p:spPr>
            <a:xfrm>
              <a:off x="1693480" y="4067453"/>
              <a:ext cx="2015999" cy="1766788"/>
            </a:xfrm>
            <a:prstGeom prst="roundRect">
              <a:avLst>
                <a:gd name="adj" fmla="val 7591"/>
              </a:avLst>
            </a:prstGeom>
            <a:noFill/>
            <a:ln w="19050" cap="flat" cmpd="sng" algn="ctr">
              <a:solidFill>
                <a:srgbClr val="DBE9F7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DBE9F7">
                    <a:lumMod val="25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Rectangle: Rounded Corners 28">
              <a:extLst>
                <a:ext uri="{FF2B5EF4-FFF2-40B4-BE49-F238E27FC236}">
                  <a16:creationId xmlns:a16="http://schemas.microsoft.com/office/drawing/2014/main" id="{60ADCD77-CAF0-F98F-6BAF-BD7055AB8015}"/>
                </a:ext>
              </a:extLst>
            </p:cNvPr>
            <p:cNvSpPr/>
            <p:nvPr/>
          </p:nvSpPr>
          <p:spPr>
            <a:xfrm>
              <a:off x="1693480" y="3783227"/>
              <a:ext cx="2015999" cy="540000"/>
            </a:xfrm>
            <a:prstGeom prst="roundRect">
              <a:avLst/>
            </a:prstGeom>
            <a:solidFill>
              <a:srgbClr val="DBE9F7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rPr>
                <a:t>Large Regional Bank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E7DEDE2-9E8B-1628-68C7-20622F70FC29}"/>
                </a:ext>
              </a:extLst>
            </p:cNvPr>
            <p:cNvSpPr txBox="1"/>
            <p:nvPr/>
          </p:nvSpPr>
          <p:spPr>
            <a:xfrm>
              <a:off x="1784757" y="5266910"/>
              <a:ext cx="1778934" cy="4253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300+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AI Use Cases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55A3C69-16F1-8A78-D7F5-0EFC563C5B0D}"/>
                </a:ext>
              </a:extLst>
            </p:cNvPr>
            <p:cNvSpPr txBox="1"/>
            <p:nvPr/>
          </p:nvSpPr>
          <p:spPr>
            <a:xfrm>
              <a:off x="1713143" y="4522889"/>
              <a:ext cx="1983209" cy="6973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AI-driven Decision Analytics for Revenue Optimization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0D8C6DA-AAAD-20E2-6018-486D509D0F23}"/>
              </a:ext>
            </a:extLst>
          </p:cNvPr>
          <p:cNvGrpSpPr/>
          <p:nvPr/>
        </p:nvGrpSpPr>
        <p:grpSpPr>
          <a:xfrm>
            <a:off x="7453770" y="1203452"/>
            <a:ext cx="1458130" cy="2328059"/>
            <a:chOff x="2749287" y="1142776"/>
            <a:chExt cx="2016001" cy="2109975"/>
          </a:xfrm>
        </p:grpSpPr>
        <p:sp>
          <p:nvSpPr>
            <p:cNvPr id="34" name="Rectangle: Rounded Corners 12">
              <a:extLst>
                <a:ext uri="{FF2B5EF4-FFF2-40B4-BE49-F238E27FC236}">
                  <a16:creationId xmlns:a16="http://schemas.microsoft.com/office/drawing/2014/main" id="{CF7B73B2-0594-AB5D-C949-01682EAE5D77}"/>
                </a:ext>
              </a:extLst>
            </p:cNvPr>
            <p:cNvSpPr/>
            <p:nvPr/>
          </p:nvSpPr>
          <p:spPr>
            <a:xfrm>
              <a:off x="2749289" y="1485963"/>
              <a:ext cx="2015999" cy="1766788"/>
            </a:xfrm>
            <a:prstGeom prst="roundRect">
              <a:avLst>
                <a:gd name="adj" fmla="val 7591"/>
              </a:avLst>
            </a:prstGeom>
            <a:solidFill>
              <a:srgbClr val="FBFBFB"/>
            </a:solidFill>
            <a:ln w="19050" cap="flat" cmpd="sng" algn="ctr">
              <a:solidFill>
                <a:srgbClr val="DBE9F7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00" b="0" i="0" u="none" strike="noStrike" kern="0" cap="none" spc="0" normalizeH="0" baseline="0" noProof="0">
                <a:ln>
                  <a:noFill/>
                </a:ln>
                <a:solidFill>
                  <a:srgbClr val="DBE9F7">
                    <a:lumMod val="25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Rectangle: Rounded Corners 24">
              <a:extLst>
                <a:ext uri="{FF2B5EF4-FFF2-40B4-BE49-F238E27FC236}">
                  <a16:creationId xmlns:a16="http://schemas.microsoft.com/office/drawing/2014/main" id="{5B4FD8A8-182A-DD1D-86B7-93274FB5C73C}"/>
                </a:ext>
              </a:extLst>
            </p:cNvPr>
            <p:cNvSpPr/>
            <p:nvPr/>
          </p:nvSpPr>
          <p:spPr>
            <a:xfrm>
              <a:off x="2749287" y="1142776"/>
              <a:ext cx="2015999" cy="540000"/>
            </a:xfrm>
            <a:prstGeom prst="roundRect">
              <a:avLst/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rPr>
                <a:t>Large Super Regional Bank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A50BCC5-EA73-1C97-F623-941099466D2A}"/>
                </a:ext>
              </a:extLst>
            </p:cNvPr>
            <p:cNvSpPr txBox="1"/>
            <p:nvPr/>
          </p:nvSpPr>
          <p:spPr>
            <a:xfrm>
              <a:off x="2801411" y="2705186"/>
              <a:ext cx="1944470" cy="4184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~60%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Increased Productivity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F2989F1-E533-F872-962F-3D5EF9A6041D}"/>
                </a:ext>
              </a:extLst>
            </p:cNvPr>
            <p:cNvSpPr txBox="1"/>
            <p:nvPr/>
          </p:nvSpPr>
          <p:spPr>
            <a:xfrm>
              <a:off x="2821337" y="1800970"/>
              <a:ext cx="1871882" cy="6973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Intelligent Virtual Assistant for Superior Customer Service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D6DEDD3-4B97-82B6-3D92-FD52A4450539}"/>
              </a:ext>
            </a:extLst>
          </p:cNvPr>
          <p:cNvGrpSpPr/>
          <p:nvPr/>
        </p:nvGrpSpPr>
        <p:grpSpPr>
          <a:xfrm>
            <a:off x="10521790" y="1203452"/>
            <a:ext cx="1458136" cy="2328058"/>
            <a:chOff x="7281300" y="1142777"/>
            <a:chExt cx="2016009" cy="2109974"/>
          </a:xfrm>
        </p:grpSpPr>
        <p:sp>
          <p:nvSpPr>
            <p:cNvPr id="39" name="Rectangle: Rounded Corners 14">
              <a:extLst>
                <a:ext uri="{FF2B5EF4-FFF2-40B4-BE49-F238E27FC236}">
                  <a16:creationId xmlns:a16="http://schemas.microsoft.com/office/drawing/2014/main" id="{AC1C62EC-7238-E07A-50F3-A3CA019BE43D}"/>
                </a:ext>
              </a:extLst>
            </p:cNvPr>
            <p:cNvSpPr/>
            <p:nvPr/>
          </p:nvSpPr>
          <p:spPr>
            <a:xfrm>
              <a:off x="7281310" y="1485963"/>
              <a:ext cx="2015999" cy="1766788"/>
            </a:xfrm>
            <a:prstGeom prst="roundRect">
              <a:avLst>
                <a:gd name="adj" fmla="val 7591"/>
              </a:avLst>
            </a:prstGeom>
            <a:solidFill>
              <a:srgbClr val="FBFBFB"/>
            </a:solidFill>
            <a:ln w="19050" cap="flat" cmpd="sng" algn="ctr">
              <a:solidFill>
                <a:srgbClr val="DBE9F7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DBE9F7">
                    <a:lumMod val="25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40" name="Rectangle: Rounded Corners 26">
              <a:extLst>
                <a:ext uri="{FF2B5EF4-FFF2-40B4-BE49-F238E27FC236}">
                  <a16:creationId xmlns:a16="http://schemas.microsoft.com/office/drawing/2014/main" id="{58DA8AD6-DC9C-9DD6-1ADC-43A9B9253CBF}"/>
                </a:ext>
              </a:extLst>
            </p:cNvPr>
            <p:cNvSpPr/>
            <p:nvPr/>
          </p:nvSpPr>
          <p:spPr>
            <a:xfrm>
              <a:off x="7281300" y="1142777"/>
              <a:ext cx="2015999" cy="540000"/>
            </a:xfrm>
            <a:prstGeom prst="roundRect">
              <a:avLst/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rPr>
                <a:t>Global Development Bank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96113F8-2A5A-4925-A523-4763951D2A72}"/>
                </a:ext>
              </a:extLst>
            </p:cNvPr>
            <p:cNvSpPr txBox="1"/>
            <p:nvPr/>
          </p:nvSpPr>
          <p:spPr>
            <a:xfrm>
              <a:off x="7423903" y="2682918"/>
              <a:ext cx="1778934" cy="4253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~40%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Faster TAT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FBFD978-7497-59C8-9BC2-ADC94657049F}"/>
                </a:ext>
              </a:extLst>
            </p:cNvPr>
            <p:cNvSpPr txBox="1"/>
            <p:nvPr/>
          </p:nvSpPr>
          <p:spPr>
            <a:xfrm>
              <a:off x="7350128" y="1833795"/>
              <a:ext cx="1902277" cy="6973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Reimagining Complex Contract Lifecycle with AI Agent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69F63AC-A448-3C7C-B28E-7884CA78BDA8}"/>
              </a:ext>
            </a:extLst>
          </p:cNvPr>
          <p:cNvGrpSpPr/>
          <p:nvPr/>
        </p:nvGrpSpPr>
        <p:grpSpPr>
          <a:xfrm>
            <a:off x="8987773" y="1203452"/>
            <a:ext cx="1458143" cy="2336234"/>
            <a:chOff x="9547300" y="1135367"/>
            <a:chExt cx="2016019" cy="2117384"/>
          </a:xfrm>
        </p:grpSpPr>
        <p:sp>
          <p:nvSpPr>
            <p:cNvPr id="44" name="Rectangle: Rounded Corners 16">
              <a:extLst>
                <a:ext uri="{FF2B5EF4-FFF2-40B4-BE49-F238E27FC236}">
                  <a16:creationId xmlns:a16="http://schemas.microsoft.com/office/drawing/2014/main" id="{8140C695-6740-B499-8029-049FED9D14C1}"/>
                </a:ext>
              </a:extLst>
            </p:cNvPr>
            <p:cNvSpPr/>
            <p:nvPr/>
          </p:nvSpPr>
          <p:spPr>
            <a:xfrm>
              <a:off x="9547320" y="1485963"/>
              <a:ext cx="2015999" cy="1766788"/>
            </a:xfrm>
            <a:prstGeom prst="roundRect">
              <a:avLst>
                <a:gd name="adj" fmla="val 5203"/>
              </a:avLst>
            </a:prstGeom>
            <a:noFill/>
            <a:ln w="19050" cap="flat" cmpd="sng" algn="ctr">
              <a:solidFill>
                <a:srgbClr val="DBE9F7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DBE9F7">
                    <a:lumMod val="25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45" name="Rectangle: Rounded Corners 27">
              <a:extLst>
                <a:ext uri="{FF2B5EF4-FFF2-40B4-BE49-F238E27FC236}">
                  <a16:creationId xmlns:a16="http://schemas.microsoft.com/office/drawing/2014/main" id="{000E6467-1C1C-4D35-F621-5FDED15D1056}"/>
                </a:ext>
              </a:extLst>
            </p:cNvPr>
            <p:cNvSpPr/>
            <p:nvPr/>
          </p:nvSpPr>
          <p:spPr>
            <a:xfrm>
              <a:off x="9547300" y="1135367"/>
              <a:ext cx="2015999" cy="540000"/>
            </a:xfrm>
            <a:prstGeom prst="roundRect">
              <a:avLst/>
            </a:prstGeom>
            <a:solidFill>
              <a:srgbClr val="DBE9F7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rPr>
                <a:t>US Based Global Bank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CFDB995-0C32-1F0B-7225-D0DEFB576FCC}"/>
                </a:ext>
              </a:extLst>
            </p:cNvPr>
            <p:cNvSpPr txBox="1"/>
            <p:nvPr/>
          </p:nvSpPr>
          <p:spPr>
            <a:xfrm>
              <a:off x="9602053" y="2726769"/>
              <a:ext cx="1871882" cy="4184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&gt; 1M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Controls Rationalized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C14F137-449B-17C3-A95E-08586F850464}"/>
                </a:ext>
              </a:extLst>
            </p:cNvPr>
            <p:cNvSpPr txBox="1"/>
            <p:nvPr/>
          </p:nvSpPr>
          <p:spPr>
            <a:xfrm>
              <a:off x="9619358" y="1800969"/>
              <a:ext cx="1871882" cy="8507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Activities, Risks, Controls, Monitoring Management &amp; Governance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012190F-4530-4A59-043B-A22F9CE695DA}"/>
              </a:ext>
            </a:extLst>
          </p:cNvPr>
          <p:cNvGrpSpPr/>
          <p:nvPr/>
        </p:nvGrpSpPr>
        <p:grpSpPr>
          <a:xfrm>
            <a:off x="7441886" y="3720681"/>
            <a:ext cx="1487872" cy="2263004"/>
            <a:chOff x="3956197" y="3783227"/>
            <a:chExt cx="2057123" cy="2051014"/>
          </a:xfrm>
        </p:grpSpPr>
        <p:sp>
          <p:nvSpPr>
            <p:cNvPr id="49" name="Rectangle: Rounded Corners 19">
              <a:extLst>
                <a:ext uri="{FF2B5EF4-FFF2-40B4-BE49-F238E27FC236}">
                  <a16:creationId xmlns:a16="http://schemas.microsoft.com/office/drawing/2014/main" id="{329F5D01-FD77-5832-6C8A-F9869AACED0D}"/>
                </a:ext>
              </a:extLst>
            </p:cNvPr>
            <p:cNvSpPr/>
            <p:nvPr/>
          </p:nvSpPr>
          <p:spPr>
            <a:xfrm>
              <a:off x="3988988" y="4067453"/>
              <a:ext cx="2015999" cy="1766788"/>
            </a:xfrm>
            <a:prstGeom prst="roundRect">
              <a:avLst>
                <a:gd name="adj" fmla="val 7206"/>
              </a:avLst>
            </a:prstGeom>
            <a:solidFill>
              <a:srgbClr val="FBFBFB"/>
            </a:solidFill>
            <a:ln w="19050" cap="flat" cmpd="sng" algn="ctr">
              <a:solidFill>
                <a:srgbClr val="DBE9F7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DBE9F7">
                    <a:lumMod val="25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50" name="Rectangle: Rounded Corners 29">
              <a:extLst>
                <a:ext uri="{FF2B5EF4-FFF2-40B4-BE49-F238E27FC236}">
                  <a16:creationId xmlns:a16="http://schemas.microsoft.com/office/drawing/2014/main" id="{F9C56CA3-2637-2520-0A8A-1E77E9293F66}"/>
                </a:ext>
              </a:extLst>
            </p:cNvPr>
            <p:cNvSpPr/>
            <p:nvPr/>
          </p:nvSpPr>
          <p:spPr>
            <a:xfrm>
              <a:off x="3997321" y="3783227"/>
              <a:ext cx="2015999" cy="540000"/>
            </a:xfrm>
            <a:prstGeom prst="roundRect">
              <a:avLst/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rPr>
                <a:t>US Based Global Bank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29ED7686-3719-0C8B-CBC9-7A5A45221828}"/>
                </a:ext>
              </a:extLst>
            </p:cNvPr>
            <p:cNvSpPr txBox="1"/>
            <p:nvPr/>
          </p:nvSpPr>
          <p:spPr>
            <a:xfrm>
              <a:off x="3956197" y="5261855"/>
              <a:ext cx="2015998" cy="5718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90%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Operational Cost Reduction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B7A1AE1-FBB4-F060-5F55-1B51A9E819F8}"/>
                </a:ext>
              </a:extLst>
            </p:cNvPr>
            <p:cNvSpPr txBox="1"/>
            <p:nvPr/>
          </p:nvSpPr>
          <p:spPr>
            <a:xfrm>
              <a:off x="4024752" y="4564548"/>
              <a:ext cx="1915173" cy="5439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Transforming Agent Experience with Conversational AI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0DAA4FB-39F2-FE9D-76F1-8899CB2110BE}"/>
              </a:ext>
            </a:extLst>
          </p:cNvPr>
          <p:cNvGrpSpPr/>
          <p:nvPr/>
        </p:nvGrpSpPr>
        <p:grpSpPr>
          <a:xfrm>
            <a:off x="8993748" y="3720681"/>
            <a:ext cx="1461039" cy="2263004"/>
            <a:chOff x="6246947" y="3783227"/>
            <a:chExt cx="2020023" cy="2051014"/>
          </a:xfrm>
        </p:grpSpPr>
        <p:sp>
          <p:nvSpPr>
            <p:cNvPr id="54" name="Rectangle: Rounded Corners 20">
              <a:extLst>
                <a:ext uri="{FF2B5EF4-FFF2-40B4-BE49-F238E27FC236}">
                  <a16:creationId xmlns:a16="http://schemas.microsoft.com/office/drawing/2014/main" id="{78B01C8B-0F25-D322-66BE-64464500E7E7}"/>
                </a:ext>
              </a:extLst>
            </p:cNvPr>
            <p:cNvSpPr/>
            <p:nvPr/>
          </p:nvSpPr>
          <p:spPr>
            <a:xfrm>
              <a:off x="6250971" y="4067453"/>
              <a:ext cx="2015999" cy="1766788"/>
            </a:xfrm>
            <a:prstGeom prst="roundRect">
              <a:avLst>
                <a:gd name="adj" fmla="val 4725"/>
              </a:avLst>
            </a:prstGeom>
            <a:noFill/>
            <a:ln w="19050" cap="flat" cmpd="sng" algn="ctr">
              <a:solidFill>
                <a:srgbClr val="DBE9F7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DBE9F7">
                    <a:lumMod val="25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55" name="Rectangle: Rounded Corners 30">
              <a:extLst>
                <a:ext uri="{FF2B5EF4-FFF2-40B4-BE49-F238E27FC236}">
                  <a16:creationId xmlns:a16="http://schemas.microsoft.com/office/drawing/2014/main" id="{F3E98B72-A9E4-5E75-6264-496FDC8D2352}"/>
                </a:ext>
              </a:extLst>
            </p:cNvPr>
            <p:cNvSpPr/>
            <p:nvPr/>
          </p:nvSpPr>
          <p:spPr>
            <a:xfrm>
              <a:off x="6246947" y="3783227"/>
              <a:ext cx="2015999" cy="540000"/>
            </a:xfrm>
            <a:prstGeom prst="roundRect">
              <a:avLst/>
            </a:prstGeom>
            <a:solidFill>
              <a:srgbClr val="DBE9F7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rPr>
                <a:t>US-Based Global Fintech Leader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C82025D-2EC7-E39D-7DD2-F72083EEFBBF}"/>
                </a:ext>
              </a:extLst>
            </p:cNvPr>
            <p:cNvSpPr txBox="1"/>
            <p:nvPr/>
          </p:nvSpPr>
          <p:spPr>
            <a:xfrm>
              <a:off x="6424324" y="5269817"/>
              <a:ext cx="1778935" cy="4253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25%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Effort  Reduction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44E14069-62CB-CED6-5D26-297825328983}"/>
                </a:ext>
              </a:extLst>
            </p:cNvPr>
            <p:cNvSpPr txBox="1"/>
            <p:nvPr/>
          </p:nvSpPr>
          <p:spPr>
            <a:xfrm>
              <a:off x="6320043" y="4534791"/>
              <a:ext cx="1944721" cy="5439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Legacy Code Modernization using GenAI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0367DD3-02F4-154A-AA79-61611CB3E79B}"/>
              </a:ext>
            </a:extLst>
          </p:cNvPr>
          <p:cNvGrpSpPr/>
          <p:nvPr/>
        </p:nvGrpSpPr>
        <p:grpSpPr>
          <a:xfrm>
            <a:off x="10518777" y="3720681"/>
            <a:ext cx="1464154" cy="2263004"/>
            <a:chOff x="8521011" y="3783227"/>
            <a:chExt cx="2024330" cy="2051014"/>
          </a:xfrm>
        </p:grpSpPr>
        <p:sp>
          <p:nvSpPr>
            <p:cNvPr id="59" name="Rectangle: Rounded Corners 21">
              <a:extLst>
                <a:ext uri="{FF2B5EF4-FFF2-40B4-BE49-F238E27FC236}">
                  <a16:creationId xmlns:a16="http://schemas.microsoft.com/office/drawing/2014/main" id="{6B7AC1E0-8C53-5F99-947C-6C712D5F1D26}"/>
                </a:ext>
              </a:extLst>
            </p:cNvPr>
            <p:cNvSpPr/>
            <p:nvPr/>
          </p:nvSpPr>
          <p:spPr>
            <a:xfrm>
              <a:off x="8521011" y="4067453"/>
              <a:ext cx="2015999" cy="1766788"/>
            </a:xfrm>
            <a:prstGeom prst="roundRect">
              <a:avLst>
                <a:gd name="adj" fmla="val 7591"/>
              </a:avLst>
            </a:prstGeom>
            <a:solidFill>
              <a:srgbClr val="FBFBFB"/>
            </a:solidFill>
            <a:ln w="19050" cap="flat" cmpd="sng" algn="ctr">
              <a:solidFill>
                <a:srgbClr val="DBE9F7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DBE9F7">
                    <a:lumMod val="25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60" name="Rectangle: Rounded Corners 31">
              <a:extLst>
                <a:ext uri="{FF2B5EF4-FFF2-40B4-BE49-F238E27FC236}">
                  <a16:creationId xmlns:a16="http://schemas.microsoft.com/office/drawing/2014/main" id="{7F3BDF04-3025-249F-A238-89D727ED35F7}"/>
                </a:ext>
              </a:extLst>
            </p:cNvPr>
            <p:cNvSpPr/>
            <p:nvPr/>
          </p:nvSpPr>
          <p:spPr>
            <a:xfrm>
              <a:off x="8529342" y="3783227"/>
              <a:ext cx="2015999" cy="540000"/>
            </a:xfrm>
            <a:prstGeom prst="roundRect">
              <a:avLst/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rPr>
                <a:t>Global Banking &amp; Financial Services Major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110D789-0DA3-444E-B4C5-1C8209B9F04A}"/>
                </a:ext>
              </a:extLst>
            </p:cNvPr>
            <p:cNvSpPr txBox="1"/>
            <p:nvPr/>
          </p:nvSpPr>
          <p:spPr>
            <a:xfrm>
              <a:off x="8529343" y="5238721"/>
              <a:ext cx="1976455" cy="5718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~80%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Faster Content Generation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4530903-1902-5F74-A4A6-673988A88E8D}"/>
                </a:ext>
              </a:extLst>
            </p:cNvPr>
            <p:cNvSpPr txBox="1"/>
            <p:nvPr/>
          </p:nvSpPr>
          <p:spPr>
            <a:xfrm>
              <a:off x="8572714" y="4534791"/>
              <a:ext cx="1913485" cy="5439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DBE9F7">
                      <a:lumMod val="25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Revolutionizing Campaign Strategy  with GenAI</a:t>
              </a:r>
            </a:p>
          </p:txBody>
        </p:sp>
      </p:grpSp>
      <p:sp>
        <p:nvSpPr>
          <p:cNvPr id="63" name="Title 62">
            <a:extLst>
              <a:ext uri="{FF2B5EF4-FFF2-40B4-BE49-F238E27FC236}">
                <a16:creationId xmlns:a16="http://schemas.microsoft.com/office/drawing/2014/main" id="{932945CE-13F8-6B1F-606C-1BF277A016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voting on AI/GenAI to deliver valu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928135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A7549F-383F-B59C-FF92-4A1DD5054C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Box 62">
            <a:extLst>
              <a:ext uri="{FF2B5EF4-FFF2-40B4-BE49-F238E27FC236}">
                <a16:creationId xmlns:a16="http://schemas.microsoft.com/office/drawing/2014/main" id="{9E4AE09C-819F-1EF3-2ED7-EA40894C08D0}"/>
              </a:ext>
            </a:extLst>
          </p:cNvPr>
          <p:cNvSpPr txBox="1"/>
          <p:nvPr/>
        </p:nvSpPr>
        <p:spPr>
          <a:xfrm>
            <a:off x="10044494" y="250995"/>
            <a:ext cx="1825510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bold"/>
                <a:ea typeface="+mn-ea"/>
                <a:cs typeface="Segoe UI" panose="020B0502040204020203" pitchFamily="34" charset="0"/>
              </a:rPr>
              <a:t>BFS Practice</a:t>
            </a: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05B49308-9FCD-09C2-AAF1-111CAF42A81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8797" b="37037"/>
          <a:stretch/>
        </p:blipFill>
        <p:spPr>
          <a:xfrm>
            <a:off x="6997850" y="1021092"/>
            <a:ext cx="1459420" cy="352679"/>
          </a:xfrm>
          <a:prstGeom prst="rect">
            <a:avLst/>
          </a:prstGeom>
        </p:spPr>
      </p:pic>
      <p:pic>
        <p:nvPicPr>
          <p:cNvPr id="66" name="object 4">
            <a:extLst>
              <a:ext uri="{FF2B5EF4-FFF2-40B4-BE49-F238E27FC236}">
                <a16:creationId xmlns:a16="http://schemas.microsoft.com/office/drawing/2014/main" id="{A3628EC5-699A-7B95-77C3-FD06496BEA96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049132" y="1420182"/>
            <a:ext cx="4134415" cy="1627253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E1BC731B-E5EE-F9C2-A3DA-59D66A478089}"/>
              </a:ext>
            </a:extLst>
          </p:cNvPr>
          <p:cNvSpPr txBox="1"/>
          <p:nvPr/>
        </p:nvSpPr>
        <p:spPr>
          <a:xfrm>
            <a:off x="8193682" y="1009869"/>
            <a:ext cx="34507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Frutiger 45 bold"/>
                <a:ea typeface="Roboto"/>
                <a:cs typeface="Roboto"/>
                <a:sym typeface="Roboto"/>
              </a:rPr>
              <a:t>Low code Blockchain Platform </a:t>
            </a:r>
            <a:endParaRPr kumimoji="0" lang="en-IN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AD8540B-6698-DB4F-082C-D9513487DBF6}"/>
              </a:ext>
            </a:extLst>
          </p:cNvPr>
          <p:cNvSpPr txBox="1"/>
          <p:nvPr/>
        </p:nvSpPr>
        <p:spPr>
          <a:xfrm>
            <a:off x="8480510" y="3118692"/>
            <a:ext cx="1447800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bold"/>
                <a:ea typeface="+mn-ea"/>
                <a:cs typeface="Segoe UI" panose="020B0502040204020203" pitchFamily="34" charset="0"/>
              </a:rPr>
              <a:t>Products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CCF5122-21D0-2366-F636-39954602F0D4}"/>
              </a:ext>
            </a:extLst>
          </p:cNvPr>
          <p:cNvGrpSpPr/>
          <p:nvPr/>
        </p:nvGrpSpPr>
        <p:grpSpPr>
          <a:xfrm>
            <a:off x="6449578" y="3544380"/>
            <a:ext cx="5375061" cy="864001"/>
            <a:chOff x="689868" y="1304682"/>
            <a:chExt cx="10927670" cy="505937"/>
          </a:xfrm>
        </p:grpSpPr>
        <p:sp>
          <p:nvSpPr>
            <p:cNvPr id="70" name="Google Shape;249;p6">
              <a:extLst>
                <a:ext uri="{FF2B5EF4-FFF2-40B4-BE49-F238E27FC236}">
                  <a16:creationId xmlns:a16="http://schemas.microsoft.com/office/drawing/2014/main" id="{2F4DF2F3-468F-2079-0972-9DF177964340}"/>
                </a:ext>
              </a:extLst>
            </p:cNvPr>
            <p:cNvSpPr txBox="1"/>
            <p:nvPr/>
          </p:nvSpPr>
          <p:spPr>
            <a:xfrm>
              <a:off x="689868" y="1304682"/>
              <a:ext cx="2561620" cy="50593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120900" tIns="69075" rIns="120900" bIns="690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Arial"/>
                  <a:cs typeface="Arial"/>
                  <a:sym typeface="Arial"/>
                </a:rPr>
                <a:t>Blockchain as a Service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bold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253;p6">
              <a:extLst>
                <a:ext uri="{FF2B5EF4-FFF2-40B4-BE49-F238E27FC236}">
                  <a16:creationId xmlns:a16="http://schemas.microsoft.com/office/drawing/2014/main" id="{D4B755DC-15D4-6EF8-BFE9-BF657626696D}"/>
                </a:ext>
              </a:extLst>
            </p:cNvPr>
            <p:cNvSpPr txBox="1"/>
            <p:nvPr/>
          </p:nvSpPr>
          <p:spPr>
            <a:xfrm>
              <a:off x="3478551" y="1304682"/>
              <a:ext cx="2561620" cy="505937"/>
            </a:xfrm>
            <a:prstGeom prst="rect">
              <a:avLst/>
            </a:prstGeom>
            <a:solidFill>
              <a:srgbClr val="28A9E0">
                <a:lumMod val="75000"/>
              </a:srgbClr>
            </a:solidFill>
            <a:ln>
              <a:noFill/>
            </a:ln>
          </p:spPr>
          <p:txBody>
            <a:bodyPr spcFirstLastPara="1" wrap="square" lIns="120900" tIns="69075" rIns="120900" bIns="690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Arial"/>
                  <a:cs typeface="Arial"/>
                  <a:sym typeface="Arial"/>
                </a:rPr>
                <a:t>Asset Tokenization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bold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257;p6">
              <a:extLst>
                <a:ext uri="{FF2B5EF4-FFF2-40B4-BE49-F238E27FC236}">
                  <a16:creationId xmlns:a16="http://schemas.microsoft.com/office/drawing/2014/main" id="{F7278336-5157-E87B-5EC4-F407F7F57908}"/>
                </a:ext>
              </a:extLst>
            </p:cNvPr>
            <p:cNvSpPr txBox="1"/>
            <p:nvPr/>
          </p:nvSpPr>
          <p:spPr>
            <a:xfrm>
              <a:off x="6267235" y="1304682"/>
              <a:ext cx="2561620" cy="50593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120900" tIns="69075" rIns="120900" bIns="690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Arial"/>
                  <a:cs typeface="Arial"/>
                  <a:sym typeface="Arial"/>
                </a:rPr>
                <a:t>Tokenized Deposits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bold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261;p6">
              <a:extLst>
                <a:ext uri="{FF2B5EF4-FFF2-40B4-BE49-F238E27FC236}">
                  <a16:creationId xmlns:a16="http://schemas.microsoft.com/office/drawing/2014/main" id="{50D50393-C601-87F5-0221-E6F7BF8A6A25}"/>
                </a:ext>
              </a:extLst>
            </p:cNvPr>
            <p:cNvSpPr txBox="1"/>
            <p:nvPr/>
          </p:nvSpPr>
          <p:spPr>
            <a:xfrm>
              <a:off x="9055918" y="1304682"/>
              <a:ext cx="2561620" cy="505936"/>
            </a:xfrm>
            <a:prstGeom prst="rect">
              <a:avLst/>
            </a:prstGeom>
            <a:solidFill>
              <a:srgbClr val="28A9E0">
                <a:lumMod val="75000"/>
              </a:srgbClr>
            </a:solidFill>
            <a:ln>
              <a:noFill/>
            </a:ln>
          </p:spPr>
          <p:txBody>
            <a:bodyPr spcFirstLastPara="1" wrap="square" lIns="120900" tIns="69075" rIns="120900" bIns="690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Arial"/>
                  <a:cs typeface="Arial"/>
                  <a:sym typeface="Arial"/>
                </a:rPr>
                <a:t>CBDC in a Box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bold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74" name="Picture 73">
            <a:extLst>
              <a:ext uri="{FF2B5EF4-FFF2-40B4-BE49-F238E27FC236}">
                <a16:creationId xmlns:a16="http://schemas.microsoft.com/office/drawing/2014/main" id="{9C7CA0E7-1767-F88C-852C-6DAE6F70EA3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38571" b="38596"/>
          <a:stretch/>
        </p:blipFill>
        <p:spPr>
          <a:xfrm>
            <a:off x="471887" y="1021092"/>
            <a:ext cx="1564024" cy="357119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8FCCF975-425D-B6F6-12CB-CDBE23AA729F}"/>
              </a:ext>
            </a:extLst>
          </p:cNvPr>
          <p:cNvSpPr txBox="1"/>
          <p:nvPr/>
        </p:nvSpPr>
        <p:spPr>
          <a:xfrm>
            <a:off x="1794327" y="1054733"/>
            <a:ext cx="34507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Frutiger 45 bold"/>
                <a:ea typeface="Roboto"/>
                <a:cs typeface="Roboto"/>
                <a:sym typeface="Roboto"/>
              </a:rPr>
              <a:t>Advanced Agentic Voice AI Platform</a:t>
            </a:r>
            <a:endParaRPr kumimoji="0" lang="en-IN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746E69DC-1871-BB67-DA9C-DBF2FF605C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4654" y="1795235"/>
            <a:ext cx="5567806" cy="2546789"/>
          </a:xfrm>
          <a:prstGeom prst="rect">
            <a:avLst/>
          </a:prstGeom>
        </p:spPr>
      </p:pic>
      <p:grpSp>
        <p:nvGrpSpPr>
          <p:cNvPr id="77" name="Group 76">
            <a:extLst>
              <a:ext uri="{FF2B5EF4-FFF2-40B4-BE49-F238E27FC236}">
                <a16:creationId xmlns:a16="http://schemas.microsoft.com/office/drawing/2014/main" id="{936D57ED-3F8A-DD9B-776D-D75027196BB5}"/>
              </a:ext>
            </a:extLst>
          </p:cNvPr>
          <p:cNvGrpSpPr/>
          <p:nvPr/>
        </p:nvGrpSpPr>
        <p:grpSpPr>
          <a:xfrm>
            <a:off x="6301250" y="4726991"/>
            <a:ext cx="5618418" cy="1610676"/>
            <a:chOff x="6415550" y="4726991"/>
            <a:chExt cx="5618418" cy="1610676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9298A5B-F4F8-4334-8DBB-57CDFF07DC80}"/>
                </a:ext>
              </a:extLst>
            </p:cNvPr>
            <p:cNvGrpSpPr/>
            <p:nvPr/>
          </p:nvGrpSpPr>
          <p:grpSpPr>
            <a:xfrm>
              <a:off x="6440238" y="4726991"/>
              <a:ext cx="5593730" cy="1610676"/>
              <a:chOff x="-23522" y="2968632"/>
              <a:chExt cx="8757947" cy="1944642"/>
            </a:xfrm>
          </p:grpSpPr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B5B29552-4D9F-7F50-39CC-33B3954FC9EB}"/>
                  </a:ext>
                </a:extLst>
              </p:cNvPr>
              <p:cNvGrpSpPr/>
              <p:nvPr/>
            </p:nvGrpSpPr>
            <p:grpSpPr>
              <a:xfrm flipH="1">
                <a:off x="247121" y="3001007"/>
                <a:ext cx="8487304" cy="1912267"/>
                <a:chOff x="3354965" y="825915"/>
                <a:chExt cx="8239660" cy="3161173"/>
              </a:xfrm>
            </p:grpSpPr>
            <p:sp>
              <p:nvSpPr>
                <p:cNvPr id="94" name="Rectangle 80">
                  <a:extLst>
                    <a:ext uri="{FF2B5EF4-FFF2-40B4-BE49-F238E27FC236}">
                      <a16:creationId xmlns:a16="http://schemas.microsoft.com/office/drawing/2014/main" id="{F557C205-C165-B5F7-FE27-4E6AC4736142}"/>
                    </a:ext>
                  </a:extLst>
                </p:cNvPr>
                <p:cNvSpPr/>
                <p:nvPr/>
              </p:nvSpPr>
              <p:spPr>
                <a:xfrm flipH="1" flipV="1">
                  <a:off x="3354965" y="2650143"/>
                  <a:ext cx="8239657" cy="1336945"/>
                </a:xfrm>
                <a:custGeom>
                  <a:avLst/>
                  <a:gdLst>
                    <a:gd name="connsiteX0" fmla="*/ 0 w 5414181"/>
                    <a:gd name="connsiteY0" fmla="*/ 0 h 1252700"/>
                    <a:gd name="connsiteX1" fmla="*/ 5414181 w 5414181"/>
                    <a:gd name="connsiteY1" fmla="*/ 0 h 1252700"/>
                    <a:gd name="connsiteX2" fmla="*/ 5414181 w 5414181"/>
                    <a:gd name="connsiteY2" fmla="*/ 1252700 h 1252700"/>
                    <a:gd name="connsiteX3" fmla="*/ 0 w 5414181"/>
                    <a:gd name="connsiteY3" fmla="*/ 1252700 h 1252700"/>
                    <a:gd name="connsiteX4" fmla="*/ 0 w 5414181"/>
                    <a:gd name="connsiteY4" fmla="*/ 0 h 1252700"/>
                    <a:gd name="connsiteX0" fmla="*/ 0 w 5414181"/>
                    <a:gd name="connsiteY0" fmla="*/ 242626 h 1495326"/>
                    <a:gd name="connsiteX1" fmla="*/ 5414181 w 5414181"/>
                    <a:gd name="connsiteY1" fmla="*/ 242626 h 1495326"/>
                    <a:gd name="connsiteX2" fmla="*/ 5414181 w 5414181"/>
                    <a:gd name="connsiteY2" fmla="*/ 1495326 h 1495326"/>
                    <a:gd name="connsiteX3" fmla="*/ 0 w 5414181"/>
                    <a:gd name="connsiteY3" fmla="*/ 1495326 h 1495326"/>
                    <a:gd name="connsiteX4" fmla="*/ 0 w 5414181"/>
                    <a:gd name="connsiteY4" fmla="*/ 242626 h 1495326"/>
                    <a:gd name="connsiteX0" fmla="*/ 0 w 5414181"/>
                    <a:gd name="connsiteY0" fmla="*/ 389229 h 1641929"/>
                    <a:gd name="connsiteX1" fmla="*/ 5414181 w 5414181"/>
                    <a:gd name="connsiteY1" fmla="*/ 389229 h 1641929"/>
                    <a:gd name="connsiteX2" fmla="*/ 5414181 w 5414181"/>
                    <a:gd name="connsiteY2" fmla="*/ 1641929 h 1641929"/>
                    <a:gd name="connsiteX3" fmla="*/ 0 w 5414181"/>
                    <a:gd name="connsiteY3" fmla="*/ 1641929 h 1641929"/>
                    <a:gd name="connsiteX4" fmla="*/ 0 w 5414181"/>
                    <a:gd name="connsiteY4" fmla="*/ 389229 h 1641929"/>
                    <a:gd name="connsiteX0" fmla="*/ 0 w 5414181"/>
                    <a:gd name="connsiteY0" fmla="*/ 438422 h 1691122"/>
                    <a:gd name="connsiteX1" fmla="*/ 5414181 w 5414181"/>
                    <a:gd name="connsiteY1" fmla="*/ 438422 h 1691122"/>
                    <a:gd name="connsiteX2" fmla="*/ 5414181 w 5414181"/>
                    <a:gd name="connsiteY2" fmla="*/ 1691122 h 1691122"/>
                    <a:gd name="connsiteX3" fmla="*/ 0 w 5414181"/>
                    <a:gd name="connsiteY3" fmla="*/ 1691122 h 1691122"/>
                    <a:gd name="connsiteX4" fmla="*/ 0 w 5414181"/>
                    <a:gd name="connsiteY4" fmla="*/ 438422 h 1691122"/>
                    <a:gd name="connsiteX0" fmla="*/ 0 w 5414181"/>
                    <a:gd name="connsiteY0" fmla="*/ 438422 h 1691122"/>
                    <a:gd name="connsiteX1" fmla="*/ 5414181 w 5414181"/>
                    <a:gd name="connsiteY1" fmla="*/ 438422 h 1691122"/>
                    <a:gd name="connsiteX2" fmla="*/ 5414181 w 5414181"/>
                    <a:gd name="connsiteY2" fmla="*/ 1691122 h 1691122"/>
                    <a:gd name="connsiteX3" fmla="*/ 0 w 5414181"/>
                    <a:gd name="connsiteY3" fmla="*/ 1691122 h 1691122"/>
                    <a:gd name="connsiteX4" fmla="*/ 0 w 5414181"/>
                    <a:gd name="connsiteY4" fmla="*/ 438422 h 1691122"/>
                    <a:gd name="connsiteX0" fmla="*/ 0 w 5414181"/>
                    <a:gd name="connsiteY0" fmla="*/ 438422 h 1691122"/>
                    <a:gd name="connsiteX1" fmla="*/ 5414181 w 5414181"/>
                    <a:gd name="connsiteY1" fmla="*/ 438422 h 1691122"/>
                    <a:gd name="connsiteX2" fmla="*/ 5414181 w 5414181"/>
                    <a:gd name="connsiteY2" fmla="*/ 1691122 h 1691122"/>
                    <a:gd name="connsiteX3" fmla="*/ 0 w 5414181"/>
                    <a:gd name="connsiteY3" fmla="*/ 1691122 h 1691122"/>
                    <a:gd name="connsiteX4" fmla="*/ 0 w 5414181"/>
                    <a:gd name="connsiteY4" fmla="*/ 438422 h 1691122"/>
                    <a:gd name="connsiteX0" fmla="*/ 0 w 5414181"/>
                    <a:gd name="connsiteY0" fmla="*/ 532632 h 1785332"/>
                    <a:gd name="connsiteX1" fmla="*/ 5414181 w 5414181"/>
                    <a:gd name="connsiteY1" fmla="*/ 532632 h 1785332"/>
                    <a:gd name="connsiteX2" fmla="*/ 5414181 w 5414181"/>
                    <a:gd name="connsiteY2" fmla="*/ 1785332 h 1785332"/>
                    <a:gd name="connsiteX3" fmla="*/ 0 w 5414181"/>
                    <a:gd name="connsiteY3" fmla="*/ 1785332 h 1785332"/>
                    <a:gd name="connsiteX4" fmla="*/ 0 w 5414181"/>
                    <a:gd name="connsiteY4" fmla="*/ 532632 h 1785332"/>
                    <a:gd name="connsiteX0" fmla="*/ 0 w 5414181"/>
                    <a:gd name="connsiteY0" fmla="*/ 654829 h 1907529"/>
                    <a:gd name="connsiteX1" fmla="*/ 5414181 w 5414181"/>
                    <a:gd name="connsiteY1" fmla="*/ 654829 h 1907529"/>
                    <a:gd name="connsiteX2" fmla="*/ 5414181 w 5414181"/>
                    <a:gd name="connsiteY2" fmla="*/ 1907529 h 1907529"/>
                    <a:gd name="connsiteX3" fmla="*/ 0 w 5414181"/>
                    <a:gd name="connsiteY3" fmla="*/ 1907529 h 1907529"/>
                    <a:gd name="connsiteX4" fmla="*/ 0 w 5414181"/>
                    <a:gd name="connsiteY4" fmla="*/ 654829 h 1907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14181" h="1907529">
                      <a:moveTo>
                        <a:pt x="0" y="654829"/>
                      </a:moveTo>
                      <a:cubicBezTo>
                        <a:pt x="1750136" y="-190769"/>
                        <a:pt x="4291843" y="-245358"/>
                        <a:pt x="5414181" y="654829"/>
                      </a:cubicBezTo>
                      <a:lnTo>
                        <a:pt x="5414181" y="1907529"/>
                      </a:lnTo>
                      <a:lnTo>
                        <a:pt x="0" y="1907529"/>
                      </a:lnTo>
                      <a:lnTo>
                        <a:pt x="0" y="654829"/>
                      </a:lnTo>
                      <a:close/>
                    </a:path>
                  </a:pathLst>
                </a:custGeom>
                <a:solidFill>
                  <a:sysClr val="windowText" lastClr="000000">
                    <a:lumMod val="50000"/>
                    <a:lumOff val="50000"/>
                  </a:sysClr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softEdge rad="317500"/>
                </a:effectLst>
              </p:spPr>
              <p:txBody>
                <a:bodyPr rtlCol="0" anchor="ctr"/>
                <a:lstStyle/>
                <a:p>
                  <a:pPr marL="0" marR="0" lvl="0" indent="0" algn="l" defTabSz="9143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Frutiger 45 bold"/>
                    <a:ea typeface="STKaiti"/>
                    <a:cs typeface="+mn-cs"/>
                  </a:endParaRPr>
                </a:p>
              </p:txBody>
            </p:sp>
            <p:sp>
              <p:nvSpPr>
                <p:cNvPr id="95" name="Rectangle 94">
                  <a:extLst>
                    <a:ext uri="{FF2B5EF4-FFF2-40B4-BE49-F238E27FC236}">
                      <a16:creationId xmlns:a16="http://schemas.microsoft.com/office/drawing/2014/main" id="{E7C6D0B0-F7C7-560F-6B47-A7212E587FF4}"/>
                    </a:ext>
                  </a:extLst>
                </p:cNvPr>
                <p:cNvSpPr/>
                <p:nvPr/>
              </p:nvSpPr>
              <p:spPr>
                <a:xfrm>
                  <a:off x="3638163" y="825915"/>
                  <a:ext cx="7956462" cy="2628275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3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+mn-cs"/>
                  </a:endParaRPr>
                </a:p>
              </p:txBody>
            </p:sp>
          </p:grpSp>
          <p:grpSp>
            <p:nvGrpSpPr>
              <p:cNvPr id="90" name="Group 89">
                <a:extLst>
                  <a:ext uri="{FF2B5EF4-FFF2-40B4-BE49-F238E27FC236}">
                    <a16:creationId xmlns:a16="http://schemas.microsoft.com/office/drawing/2014/main" id="{523EC676-BEA0-1E2B-7B6D-D1981B2B2F27}"/>
                  </a:ext>
                </a:extLst>
              </p:cNvPr>
              <p:cNvGrpSpPr/>
              <p:nvPr/>
            </p:nvGrpSpPr>
            <p:grpSpPr>
              <a:xfrm>
                <a:off x="247121" y="3178667"/>
                <a:ext cx="8195595" cy="617292"/>
                <a:chOff x="-810645" y="3178667"/>
                <a:chExt cx="9217009" cy="617292"/>
              </a:xfrm>
            </p:grpSpPr>
            <p:cxnSp>
              <p:nvCxnSpPr>
                <p:cNvPr id="92" name="Straight Connector 91">
                  <a:extLst>
                    <a:ext uri="{FF2B5EF4-FFF2-40B4-BE49-F238E27FC236}">
                      <a16:creationId xmlns:a16="http://schemas.microsoft.com/office/drawing/2014/main" id="{14734D46-A8F6-161C-643F-12D2F12B9990}"/>
                    </a:ext>
                  </a:extLst>
                </p:cNvPr>
                <p:cNvCxnSpPr>
                  <a:cxnSpLocks/>
                  <a:stCxn id="95" idx="3"/>
                  <a:endCxn id="95" idx="1"/>
                </p:cNvCxnSpPr>
                <p:nvPr/>
              </p:nvCxnSpPr>
              <p:spPr bwMode="auto">
                <a:xfrm>
                  <a:off x="-810645" y="3795957"/>
                  <a:ext cx="9217009" cy="0"/>
                </a:xfrm>
                <a:prstGeom prst="line">
                  <a:avLst/>
                </a:prstGeom>
                <a:solidFill>
                  <a:srgbClr val="954F72"/>
                </a:solidFill>
                <a:ln w="6350" cap="flat" cmpd="sng" algn="ctr">
                  <a:solidFill>
                    <a:srgbClr val="44546A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3" name="Straight Connector 92">
                  <a:extLst>
                    <a:ext uri="{FF2B5EF4-FFF2-40B4-BE49-F238E27FC236}">
                      <a16:creationId xmlns:a16="http://schemas.microsoft.com/office/drawing/2014/main" id="{541C5121-239D-0CA7-1ED6-CDE46997A072}"/>
                    </a:ext>
                  </a:extLst>
                </p:cNvPr>
                <p:cNvCxnSpPr/>
                <p:nvPr/>
              </p:nvCxnSpPr>
              <p:spPr bwMode="auto">
                <a:xfrm>
                  <a:off x="2900508" y="3178667"/>
                  <a:ext cx="0" cy="497000"/>
                </a:xfrm>
                <a:prstGeom prst="line">
                  <a:avLst/>
                </a:prstGeom>
                <a:solidFill>
                  <a:srgbClr val="954F72"/>
                </a:solidFill>
                <a:ln w="6350" cap="flat" cmpd="sng" algn="ctr">
                  <a:solidFill>
                    <a:srgbClr val="44546A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91" name="Rectangle: Top Corners Rounded 90">
                <a:extLst>
                  <a:ext uri="{FF2B5EF4-FFF2-40B4-BE49-F238E27FC236}">
                    <a16:creationId xmlns:a16="http://schemas.microsoft.com/office/drawing/2014/main" id="{9F224B5A-5554-90FB-68C9-71765AC1C30D}"/>
                  </a:ext>
                </a:extLst>
              </p:cNvPr>
              <p:cNvSpPr/>
              <p:nvPr/>
            </p:nvSpPr>
            <p:spPr bwMode="auto">
              <a:xfrm rot="16200000">
                <a:off x="-163469" y="3108579"/>
                <a:ext cx="1600508" cy="1320613"/>
              </a:xfrm>
              <a:prstGeom prst="round2SameRect">
                <a:avLst/>
              </a:prstGeom>
              <a:solidFill>
                <a:srgbClr val="06558D"/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STKaiti"/>
                  <a:cs typeface="+mn-cs"/>
                </a:endParaRPr>
              </a:p>
            </p:txBody>
          </p: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DAC6F9AE-9916-4CB6-8CFB-09E4C236FFBE}"/>
                </a:ext>
              </a:extLst>
            </p:cNvPr>
            <p:cNvSpPr txBox="1"/>
            <p:nvPr/>
          </p:nvSpPr>
          <p:spPr>
            <a:xfrm>
              <a:off x="6415550" y="5185500"/>
              <a:ext cx="948574" cy="5355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Arial"/>
                  <a:cs typeface="Arial"/>
                  <a:sym typeface="Arial"/>
                </a:rPr>
                <a:t>Use</a:t>
              </a:r>
              <a:b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Arial"/>
                  <a:cs typeface="Arial"/>
                  <a:sym typeface="Arial"/>
                </a:rPr>
              </a:b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Arial"/>
                  <a:cs typeface="Arial"/>
                  <a:sym typeface="Arial"/>
                </a:rPr>
                <a:t>Cases</a:t>
              </a: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bold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7F58901E-CE62-A119-1023-6860AB01778B}"/>
                </a:ext>
              </a:extLst>
            </p:cNvPr>
            <p:cNvSpPr txBox="1"/>
            <p:nvPr/>
          </p:nvSpPr>
          <p:spPr>
            <a:xfrm>
              <a:off x="10132681" y="4880838"/>
              <a:ext cx="171497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Real-time Settlements &amp; Reconciliation 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69C130B7-92D2-3857-23B2-C3B348CDCC6C}"/>
                </a:ext>
              </a:extLst>
            </p:cNvPr>
            <p:cNvCxnSpPr/>
            <p:nvPr/>
          </p:nvCxnSpPr>
          <p:spPr bwMode="auto">
            <a:xfrm>
              <a:off x="10068317" y="4846867"/>
              <a:ext cx="0" cy="476057"/>
            </a:xfrm>
            <a:prstGeom prst="line">
              <a:avLst/>
            </a:prstGeom>
            <a:solidFill>
              <a:srgbClr val="954F72"/>
            </a:solidFill>
            <a:ln w="6350" cap="flat" cmpd="sng" algn="ctr">
              <a:solidFill>
                <a:srgbClr val="44546A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C19B6183-074B-C663-58C4-D396F70A75E0}"/>
                </a:ext>
              </a:extLst>
            </p:cNvPr>
            <p:cNvCxnSpPr/>
            <p:nvPr/>
          </p:nvCxnSpPr>
          <p:spPr bwMode="auto">
            <a:xfrm>
              <a:off x="8693454" y="5483002"/>
              <a:ext cx="0" cy="476057"/>
            </a:xfrm>
            <a:prstGeom prst="line">
              <a:avLst/>
            </a:prstGeom>
            <a:solidFill>
              <a:srgbClr val="954F72"/>
            </a:solidFill>
            <a:ln w="6350" cap="flat" cmpd="sng" algn="ctr">
              <a:solidFill>
                <a:srgbClr val="44546A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FFA6F57B-3781-93E0-2EC7-AC622C7DC4F5}"/>
                </a:ext>
              </a:extLst>
            </p:cNvPr>
            <p:cNvCxnSpPr/>
            <p:nvPr/>
          </p:nvCxnSpPr>
          <p:spPr bwMode="auto">
            <a:xfrm>
              <a:off x="10079744" y="5483002"/>
              <a:ext cx="0" cy="476057"/>
            </a:xfrm>
            <a:prstGeom prst="line">
              <a:avLst/>
            </a:prstGeom>
            <a:solidFill>
              <a:srgbClr val="954F72"/>
            </a:solidFill>
            <a:ln w="6350" cap="flat" cmpd="sng" algn="ctr">
              <a:solidFill>
                <a:srgbClr val="44546A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E29B56A2-DB38-CA9C-5677-6A61A0A61C22}"/>
                </a:ext>
              </a:extLst>
            </p:cNvPr>
            <p:cNvSpPr txBox="1"/>
            <p:nvPr/>
          </p:nvSpPr>
          <p:spPr>
            <a:xfrm>
              <a:off x="7474792" y="4861259"/>
              <a:ext cx="115276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Security-based Fund raising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6081B66E-286C-D217-C838-36268C0FEADE}"/>
                </a:ext>
              </a:extLst>
            </p:cNvPr>
            <p:cNvSpPr txBox="1"/>
            <p:nvPr/>
          </p:nvSpPr>
          <p:spPr>
            <a:xfrm>
              <a:off x="7384256" y="5455543"/>
              <a:ext cx="128778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Blockchain-based bilateral Repo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61857C7C-D345-4AED-7B36-B78F6CF68917}"/>
                </a:ext>
              </a:extLst>
            </p:cNvPr>
            <p:cNvSpPr txBox="1"/>
            <p:nvPr/>
          </p:nvSpPr>
          <p:spPr>
            <a:xfrm>
              <a:off x="8735791" y="4872609"/>
              <a:ext cx="128890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Digital Proxy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Voting 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EED4BE56-78A8-670C-6180-98EED7D39FC6}"/>
                </a:ext>
              </a:extLst>
            </p:cNvPr>
            <p:cNvSpPr txBox="1"/>
            <p:nvPr/>
          </p:nvSpPr>
          <p:spPr>
            <a:xfrm>
              <a:off x="10135178" y="5438115"/>
              <a:ext cx="14722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Digital Client Onboarding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3E7CC488-ECAF-973C-7343-0B915E5070D0}"/>
                </a:ext>
              </a:extLst>
            </p:cNvPr>
            <p:cNvSpPr txBox="1"/>
            <p:nvPr/>
          </p:nvSpPr>
          <p:spPr>
            <a:xfrm>
              <a:off x="8660470" y="5474711"/>
              <a:ext cx="147221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Security Reference Data on Blockchain</a:t>
              </a:r>
            </a:p>
          </p:txBody>
        </p:sp>
      </p:grp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DC1CDBC-A4F1-57FF-302E-0CB383FB0284}"/>
              </a:ext>
            </a:extLst>
          </p:cNvPr>
          <p:cNvCxnSpPr/>
          <p:nvPr/>
        </p:nvCxnSpPr>
        <p:spPr>
          <a:xfrm>
            <a:off x="5944733" y="1163757"/>
            <a:ext cx="0" cy="4711161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CAF3190-C9CA-1AB5-C6CA-FC7F003ECB5D}"/>
              </a:ext>
            </a:extLst>
          </p:cNvPr>
          <p:cNvGrpSpPr/>
          <p:nvPr/>
        </p:nvGrpSpPr>
        <p:grpSpPr>
          <a:xfrm>
            <a:off x="177997" y="4726991"/>
            <a:ext cx="5618418" cy="1610676"/>
            <a:chOff x="6415550" y="4726991"/>
            <a:chExt cx="5618418" cy="1610676"/>
          </a:xfrm>
        </p:grpSpPr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F3E30F6F-2C0C-6997-6485-D3BB431464F4}"/>
                </a:ext>
              </a:extLst>
            </p:cNvPr>
            <p:cNvGrpSpPr/>
            <p:nvPr/>
          </p:nvGrpSpPr>
          <p:grpSpPr>
            <a:xfrm>
              <a:off x="6440238" y="4726991"/>
              <a:ext cx="5593730" cy="1610676"/>
              <a:chOff x="-23522" y="2968632"/>
              <a:chExt cx="8757947" cy="1944642"/>
            </a:xfrm>
          </p:grpSpPr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78AD8300-002D-71EC-DBE8-F3536C962940}"/>
                  </a:ext>
                </a:extLst>
              </p:cNvPr>
              <p:cNvGrpSpPr/>
              <p:nvPr/>
            </p:nvGrpSpPr>
            <p:grpSpPr>
              <a:xfrm flipH="1">
                <a:off x="247121" y="3001007"/>
                <a:ext cx="8487304" cy="1912267"/>
                <a:chOff x="3354965" y="825915"/>
                <a:chExt cx="8239660" cy="3161173"/>
              </a:xfrm>
            </p:grpSpPr>
            <p:sp>
              <p:nvSpPr>
                <p:cNvPr id="114" name="Rectangle 80">
                  <a:extLst>
                    <a:ext uri="{FF2B5EF4-FFF2-40B4-BE49-F238E27FC236}">
                      <a16:creationId xmlns:a16="http://schemas.microsoft.com/office/drawing/2014/main" id="{94510097-88E5-82EB-22AC-3C941681D5B1}"/>
                    </a:ext>
                  </a:extLst>
                </p:cNvPr>
                <p:cNvSpPr/>
                <p:nvPr/>
              </p:nvSpPr>
              <p:spPr>
                <a:xfrm flipH="1" flipV="1">
                  <a:off x="3354965" y="2650143"/>
                  <a:ext cx="8239657" cy="1336945"/>
                </a:xfrm>
                <a:custGeom>
                  <a:avLst/>
                  <a:gdLst>
                    <a:gd name="connsiteX0" fmla="*/ 0 w 5414181"/>
                    <a:gd name="connsiteY0" fmla="*/ 0 h 1252700"/>
                    <a:gd name="connsiteX1" fmla="*/ 5414181 w 5414181"/>
                    <a:gd name="connsiteY1" fmla="*/ 0 h 1252700"/>
                    <a:gd name="connsiteX2" fmla="*/ 5414181 w 5414181"/>
                    <a:gd name="connsiteY2" fmla="*/ 1252700 h 1252700"/>
                    <a:gd name="connsiteX3" fmla="*/ 0 w 5414181"/>
                    <a:gd name="connsiteY3" fmla="*/ 1252700 h 1252700"/>
                    <a:gd name="connsiteX4" fmla="*/ 0 w 5414181"/>
                    <a:gd name="connsiteY4" fmla="*/ 0 h 1252700"/>
                    <a:gd name="connsiteX0" fmla="*/ 0 w 5414181"/>
                    <a:gd name="connsiteY0" fmla="*/ 242626 h 1495326"/>
                    <a:gd name="connsiteX1" fmla="*/ 5414181 w 5414181"/>
                    <a:gd name="connsiteY1" fmla="*/ 242626 h 1495326"/>
                    <a:gd name="connsiteX2" fmla="*/ 5414181 w 5414181"/>
                    <a:gd name="connsiteY2" fmla="*/ 1495326 h 1495326"/>
                    <a:gd name="connsiteX3" fmla="*/ 0 w 5414181"/>
                    <a:gd name="connsiteY3" fmla="*/ 1495326 h 1495326"/>
                    <a:gd name="connsiteX4" fmla="*/ 0 w 5414181"/>
                    <a:gd name="connsiteY4" fmla="*/ 242626 h 1495326"/>
                    <a:gd name="connsiteX0" fmla="*/ 0 w 5414181"/>
                    <a:gd name="connsiteY0" fmla="*/ 389229 h 1641929"/>
                    <a:gd name="connsiteX1" fmla="*/ 5414181 w 5414181"/>
                    <a:gd name="connsiteY1" fmla="*/ 389229 h 1641929"/>
                    <a:gd name="connsiteX2" fmla="*/ 5414181 w 5414181"/>
                    <a:gd name="connsiteY2" fmla="*/ 1641929 h 1641929"/>
                    <a:gd name="connsiteX3" fmla="*/ 0 w 5414181"/>
                    <a:gd name="connsiteY3" fmla="*/ 1641929 h 1641929"/>
                    <a:gd name="connsiteX4" fmla="*/ 0 w 5414181"/>
                    <a:gd name="connsiteY4" fmla="*/ 389229 h 1641929"/>
                    <a:gd name="connsiteX0" fmla="*/ 0 w 5414181"/>
                    <a:gd name="connsiteY0" fmla="*/ 438422 h 1691122"/>
                    <a:gd name="connsiteX1" fmla="*/ 5414181 w 5414181"/>
                    <a:gd name="connsiteY1" fmla="*/ 438422 h 1691122"/>
                    <a:gd name="connsiteX2" fmla="*/ 5414181 w 5414181"/>
                    <a:gd name="connsiteY2" fmla="*/ 1691122 h 1691122"/>
                    <a:gd name="connsiteX3" fmla="*/ 0 w 5414181"/>
                    <a:gd name="connsiteY3" fmla="*/ 1691122 h 1691122"/>
                    <a:gd name="connsiteX4" fmla="*/ 0 w 5414181"/>
                    <a:gd name="connsiteY4" fmla="*/ 438422 h 1691122"/>
                    <a:gd name="connsiteX0" fmla="*/ 0 w 5414181"/>
                    <a:gd name="connsiteY0" fmla="*/ 438422 h 1691122"/>
                    <a:gd name="connsiteX1" fmla="*/ 5414181 w 5414181"/>
                    <a:gd name="connsiteY1" fmla="*/ 438422 h 1691122"/>
                    <a:gd name="connsiteX2" fmla="*/ 5414181 w 5414181"/>
                    <a:gd name="connsiteY2" fmla="*/ 1691122 h 1691122"/>
                    <a:gd name="connsiteX3" fmla="*/ 0 w 5414181"/>
                    <a:gd name="connsiteY3" fmla="*/ 1691122 h 1691122"/>
                    <a:gd name="connsiteX4" fmla="*/ 0 w 5414181"/>
                    <a:gd name="connsiteY4" fmla="*/ 438422 h 1691122"/>
                    <a:gd name="connsiteX0" fmla="*/ 0 w 5414181"/>
                    <a:gd name="connsiteY0" fmla="*/ 438422 h 1691122"/>
                    <a:gd name="connsiteX1" fmla="*/ 5414181 w 5414181"/>
                    <a:gd name="connsiteY1" fmla="*/ 438422 h 1691122"/>
                    <a:gd name="connsiteX2" fmla="*/ 5414181 w 5414181"/>
                    <a:gd name="connsiteY2" fmla="*/ 1691122 h 1691122"/>
                    <a:gd name="connsiteX3" fmla="*/ 0 w 5414181"/>
                    <a:gd name="connsiteY3" fmla="*/ 1691122 h 1691122"/>
                    <a:gd name="connsiteX4" fmla="*/ 0 w 5414181"/>
                    <a:gd name="connsiteY4" fmla="*/ 438422 h 1691122"/>
                    <a:gd name="connsiteX0" fmla="*/ 0 w 5414181"/>
                    <a:gd name="connsiteY0" fmla="*/ 532632 h 1785332"/>
                    <a:gd name="connsiteX1" fmla="*/ 5414181 w 5414181"/>
                    <a:gd name="connsiteY1" fmla="*/ 532632 h 1785332"/>
                    <a:gd name="connsiteX2" fmla="*/ 5414181 w 5414181"/>
                    <a:gd name="connsiteY2" fmla="*/ 1785332 h 1785332"/>
                    <a:gd name="connsiteX3" fmla="*/ 0 w 5414181"/>
                    <a:gd name="connsiteY3" fmla="*/ 1785332 h 1785332"/>
                    <a:gd name="connsiteX4" fmla="*/ 0 w 5414181"/>
                    <a:gd name="connsiteY4" fmla="*/ 532632 h 1785332"/>
                    <a:gd name="connsiteX0" fmla="*/ 0 w 5414181"/>
                    <a:gd name="connsiteY0" fmla="*/ 654829 h 1907529"/>
                    <a:gd name="connsiteX1" fmla="*/ 5414181 w 5414181"/>
                    <a:gd name="connsiteY1" fmla="*/ 654829 h 1907529"/>
                    <a:gd name="connsiteX2" fmla="*/ 5414181 w 5414181"/>
                    <a:gd name="connsiteY2" fmla="*/ 1907529 h 1907529"/>
                    <a:gd name="connsiteX3" fmla="*/ 0 w 5414181"/>
                    <a:gd name="connsiteY3" fmla="*/ 1907529 h 1907529"/>
                    <a:gd name="connsiteX4" fmla="*/ 0 w 5414181"/>
                    <a:gd name="connsiteY4" fmla="*/ 654829 h 1907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14181" h="1907529">
                      <a:moveTo>
                        <a:pt x="0" y="654829"/>
                      </a:moveTo>
                      <a:cubicBezTo>
                        <a:pt x="1750136" y="-190769"/>
                        <a:pt x="4291843" y="-245358"/>
                        <a:pt x="5414181" y="654829"/>
                      </a:cubicBezTo>
                      <a:lnTo>
                        <a:pt x="5414181" y="1907529"/>
                      </a:lnTo>
                      <a:lnTo>
                        <a:pt x="0" y="1907529"/>
                      </a:lnTo>
                      <a:lnTo>
                        <a:pt x="0" y="654829"/>
                      </a:lnTo>
                      <a:close/>
                    </a:path>
                  </a:pathLst>
                </a:custGeom>
                <a:solidFill>
                  <a:sysClr val="windowText" lastClr="000000">
                    <a:lumMod val="50000"/>
                    <a:lumOff val="50000"/>
                  </a:sysClr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softEdge rad="317500"/>
                </a:effectLst>
              </p:spPr>
              <p:txBody>
                <a:bodyPr rtlCol="0" anchor="ctr"/>
                <a:lstStyle/>
                <a:p>
                  <a:pPr marL="0" marR="0" lvl="0" indent="0" algn="l" defTabSz="9143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Frutiger 45 bold"/>
                    <a:ea typeface="STKaiti"/>
                    <a:cs typeface="+mn-cs"/>
                  </a:endParaRPr>
                </a:p>
              </p:txBody>
            </p:sp>
            <p:sp>
              <p:nvSpPr>
                <p:cNvPr id="115" name="Rectangle 114">
                  <a:extLst>
                    <a:ext uri="{FF2B5EF4-FFF2-40B4-BE49-F238E27FC236}">
                      <a16:creationId xmlns:a16="http://schemas.microsoft.com/office/drawing/2014/main" id="{B758E81E-19C4-9DEA-534E-991AACC99F7B}"/>
                    </a:ext>
                  </a:extLst>
                </p:cNvPr>
                <p:cNvSpPr/>
                <p:nvPr/>
              </p:nvSpPr>
              <p:spPr>
                <a:xfrm>
                  <a:off x="3638163" y="825915"/>
                  <a:ext cx="7956462" cy="2628275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3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+mn-cs"/>
                  </a:endParaRPr>
                </a:p>
              </p:txBody>
            </p: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74B024DA-8096-FB07-6F98-CF8841637C36}"/>
                  </a:ext>
                </a:extLst>
              </p:cNvPr>
              <p:cNvGrpSpPr/>
              <p:nvPr/>
            </p:nvGrpSpPr>
            <p:grpSpPr>
              <a:xfrm>
                <a:off x="247121" y="3178667"/>
                <a:ext cx="8195595" cy="617292"/>
                <a:chOff x="-810645" y="3178667"/>
                <a:chExt cx="9217009" cy="617292"/>
              </a:xfrm>
            </p:grpSpPr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612B68D2-9849-3955-77BD-5073997C41C3}"/>
                    </a:ext>
                  </a:extLst>
                </p:cNvPr>
                <p:cNvCxnSpPr>
                  <a:cxnSpLocks/>
                  <a:stCxn id="115" idx="3"/>
                  <a:endCxn id="115" idx="1"/>
                </p:cNvCxnSpPr>
                <p:nvPr/>
              </p:nvCxnSpPr>
              <p:spPr bwMode="auto">
                <a:xfrm>
                  <a:off x="-810645" y="3795957"/>
                  <a:ext cx="9217009" cy="0"/>
                </a:xfrm>
                <a:prstGeom prst="line">
                  <a:avLst/>
                </a:prstGeom>
                <a:solidFill>
                  <a:srgbClr val="954F72"/>
                </a:solidFill>
                <a:ln w="6350" cap="flat" cmpd="sng" algn="ctr">
                  <a:solidFill>
                    <a:srgbClr val="44546A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13" name="Straight Connector 112">
                  <a:extLst>
                    <a:ext uri="{FF2B5EF4-FFF2-40B4-BE49-F238E27FC236}">
                      <a16:creationId xmlns:a16="http://schemas.microsoft.com/office/drawing/2014/main" id="{8FBA12AB-1D22-03AF-849A-19C5A151E968}"/>
                    </a:ext>
                  </a:extLst>
                </p:cNvPr>
                <p:cNvCxnSpPr/>
                <p:nvPr/>
              </p:nvCxnSpPr>
              <p:spPr bwMode="auto">
                <a:xfrm>
                  <a:off x="2900508" y="3178667"/>
                  <a:ext cx="0" cy="497000"/>
                </a:xfrm>
                <a:prstGeom prst="line">
                  <a:avLst/>
                </a:prstGeom>
                <a:solidFill>
                  <a:srgbClr val="954F72"/>
                </a:solidFill>
                <a:ln w="6350" cap="flat" cmpd="sng" algn="ctr">
                  <a:solidFill>
                    <a:srgbClr val="44546A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111" name="Rectangle: Top Corners Rounded 110">
                <a:extLst>
                  <a:ext uri="{FF2B5EF4-FFF2-40B4-BE49-F238E27FC236}">
                    <a16:creationId xmlns:a16="http://schemas.microsoft.com/office/drawing/2014/main" id="{4BFDBAF2-7C86-9A02-081B-FBD75AE0979B}"/>
                  </a:ext>
                </a:extLst>
              </p:cNvPr>
              <p:cNvSpPr/>
              <p:nvPr/>
            </p:nvSpPr>
            <p:spPr bwMode="auto">
              <a:xfrm rot="16200000">
                <a:off x="-163469" y="3108579"/>
                <a:ext cx="1600508" cy="1320613"/>
              </a:xfrm>
              <a:prstGeom prst="round2SameRect">
                <a:avLst/>
              </a:prstGeom>
              <a:solidFill>
                <a:srgbClr val="06558D"/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STKaiti"/>
                  <a:cs typeface="+mn-cs"/>
                </a:endParaRPr>
              </a:p>
            </p:txBody>
          </p:sp>
        </p:grp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42AA6507-96F3-1BCC-3B44-C37BA3153406}"/>
                </a:ext>
              </a:extLst>
            </p:cNvPr>
            <p:cNvSpPr txBox="1"/>
            <p:nvPr/>
          </p:nvSpPr>
          <p:spPr>
            <a:xfrm>
              <a:off x="6415550" y="5185500"/>
              <a:ext cx="948574" cy="5355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Arial"/>
                  <a:cs typeface="Arial"/>
                  <a:sym typeface="Arial"/>
                </a:rPr>
                <a:t>Use</a:t>
              </a:r>
              <a:b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Arial"/>
                  <a:cs typeface="Arial"/>
                  <a:sym typeface="Arial"/>
                </a:rPr>
              </a:b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Arial"/>
                  <a:cs typeface="Arial"/>
                  <a:sym typeface="Arial"/>
                </a:rPr>
                <a:t>Cases</a:t>
              </a: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bold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6F996EE4-F60B-42B5-0B93-90B1F7E23F13}"/>
                </a:ext>
              </a:extLst>
            </p:cNvPr>
            <p:cNvSpPr txBox="1"/>
            <p:nvPr/>
          </p:nvSpPr>
          <p:spPr>
            <a:xfrm>
              <a:off x="10132681" y="4880838"/>
              <a:ext cx="171497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Mutual Fund Management</a:t>
              </a:r>
            </a:p>
          </p:txBody>
        </p: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E3A71766-8D37-B140-29BA-85199AAFCAC7}"/>
                </a:ext>
              </a:extLst>
            </p:cNvPr>
            <p:cNvCxnSpPr/>
            <p:nvPr/>
          </p:nvCxnSpPr>
          <p:spPr bwMode="auto">
            <a:xfrm>
              <a:off x="10068317" y="4846867"/>
              <a:ext cx="0" cy="476057"/>
            </a:xfrm>
            <a:prstGeom prst="line">
              <a:avLst/>
            </a:prstGeom>
            <a:solidFill>
              <a:srgbClr val="954F72"/>
            </a:solidFill>
            <a:ln w="6350" cap="flat" cmpd="sng" algn="ctr">
              <a:solidFill>
                <a:srgbClr val="44546A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68A86627-8A95-2D1A-2791-41D1ADBB9D46}"/>
                </a:ext>
              </a:extLst>
            </p:cNvPr>
            <p:cNvCxnSpPr/>
            <p:nvPr/>
          </p:nvCxnSpPr>
          <p:spPr bwMode="auto">
            <a:xfrm>
              <a:off x="8693454" y="5483002"/>
              <a:ext cx="0" cy="476057"/>
            </a:xfrm>
            <a:prstGeom prst="line">
              <a:avLst/>
            </a:prstGeom>
            <a:solidFill>
              <a:srgbClr val="954F72"/>
            </a:solidFill>
            <a:ln w="6350" cap="flat" cmpd="sng" algn="ctr">
              <a:solidFill>
                <a:srgbClr val="44546A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CD5A362C-773E-52EA-E31C-07647B4EE7F2}"/>
                </a:ext>
              </a:extLst>
            </p:cNvPr>
            <p:cNvCxnSpPr/>
            <p:nvPr/>
          </p:nvCxnSpPr>
          <p:spPr bwMode="auto">
            <a:xfrm>
              <a:off x="10079744" y="5483002"/>
              <a:ext cx="0" cy="476057"/>
            </a:xfrm>
            <a:prstGeom prst="line">
              <a:avLst/>
            </a:prstGeom>
            <a:solidFill>
              <a:srgbClr val="954F72"/>
            </a:solidFill>
            <a:ln w="6350" cap="flat" cmpd="sng" algn="ctr">
              <a:solidFill>
                <a:srgbClr val="44546A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57C22D36-F613-8156-908D-56451B16A22B}"/>
                </a:ext>
              </a:extLst>
            </p:cNvPr>
            <p:cNvSpPr txBox="1"/>
            <p:nvPr/>
          </p:nvSpPr>
          <p:spPr>
            <a:xfrm>
              <a:off x="7474792" y="4861259"/>
              <a:ext cx="115276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Debt Collection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0C95B1F3-5D4D-9A02-99B1-23E39EFC9BFC}"/>
                </a:ext>
              </a:extLst>
            </p:cNvPr>
            <p:cNvSpPr txBox="1"/>
            <p:nvPr/>
          </p:nvSpPr>
          <p:spPr>
            <a:xfrm>
              <a:off x="7384256" y="5455543"/>
              <a:ext cx="128778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Credit Card Application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8E29BCBE-1317-E915-4B82-CA1B59394F74}"/>
                </a:ext>
              </a:extLst>
            </p:cNvPr>
            <p:cNvSpPr txBox="1"/>
            <p:nvPr/>
          </p:nvSpPr>
          <p:spPr>
            <a:xfrm>
              <a:off x="8735791" y="4872609"/>
              <a:ext cx="128890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Loan Applications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5885A0B7-30F2-EAC7-E21B-C616100C7C97}"/>
                </a:ext>
              </a:extLst>
            </p:cNvPr>
            <p:cNvSpPr txBox="1"/>
            <p:nvPr/>
          </p:nvSpPr>
          <p:spPr>
            <a:xfrm>
              <a:off x="10122326" y="5481964"/>
              <a:ext cx="175831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HELOC (Home Equity Line of Credit) Guidance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C314154-3E41-C331-FED1-C23319C9B5F5}"/>
                </a:ext>
              </a:extLst>
            </p:cNvPr>
            <p:cNvSpPr txBox="1"/>
            <p:nvPr/>
          </p:nvSpPr>
          <p:spPr>
            <a:xfrm>
              <a:off x="8660470" y="5474711"/>
              <a:ext cx="147221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Policy Renewal </a:t>
              </a: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4B88">
                      <a:lumMod val="75000"/>
                    </a:srgbClr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rPr>
                <a:t>Upgrqde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4B88">
                    <a:lumMod val="75000"/>
                  </a:srgbClr>
                </a:solidFill>
                <a:effectLst/>
                <a:uLnTx/>
                <a:uFillTx/>
                <a:latin typeface="Frutiger 45 bold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0587D9-49DB-E44D-8D18-670F3B013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  <a:latin typeface="Frutiger 45 bold"/>
                <a:cs typeface="Segoe UI" panose="020B0502040204020203" pitchFamily="34" charset="0"/>
              </a:rPr>
              <a:t>Strategic Investments in New Age Platforms which can deliver value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20350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069DF0-F590-CCB9-56C4-3FC2404E21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1DEFD61-D12E-08DD-CD24-398C703DA20F}"/>
              </a:ext>
            </a:extLst>
          </p:cNvPr>
          <p:cNvGrpSpPr/>
          <p:nvPr/>
        </p:nvGrpSpPr>
        <p:grpSpPr>
          <a:xfrm>
            <a:off x="397994" y="1524000"/>
            <a:ext cx="5137325" cy="3179081"/>
            <a:chOff x="677684" y="1792513"/>
            <a:chExt cx="5474151" cy="3387516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C6C9B86-F0D0-FEAB-268D-15F525DC697F}"/>
                </a:ext>
              </a:extLst>
            </p:cNvPr>
            <p:cNvGrpSpPr/>
            <p:nvPr/>
          </p:nvGrpSpPr>
          <p:grpSpPr>
            <a:xfrm>
              <a:off x="746303" y="1792513"/>
              <a:ext cx="5405532" cy="3387516"/>
              <a:chOff x="1340461" y="2642069"/>
              <a:chExt cx="2733582" cy="3387516"/>
            </a:xfrm>
          </p:grpSpPr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023B7893-4EAA-D477-9569-B65BF9CDF037}"/>
                  </a:ext>
                </a:extLst>
              </p:cNvPr>
              <p:cNvSpPr txBox="1"/>
              <p:nvPr/>
            </p:nvSpPr>
            <p:spPr>
              <a:xfrm>
                <a:off x="1430173" y="2642069"/>
                <a:ext cx="2022687" cy="1773694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>
                  <a:lnSpc>
                    <a:spcPts val="15000"/>
                  </a:lnSpc>
                  <a:defRPr/>
                </a:pPr>
                <a:r>
                  <a:rPr lang="en-US" sz="4400" i="1" spc="-150" dirty="0"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rebuchet MS" panose="020B0603020202020204" pitchFamily="34" charset="0"/>
                    <a:cs typeface="Poppins SemiBold"/>
                    <a:sym typeface="Poppins SemiBold"/>
                  </a:rPr>
                  <a:t>Getting to the</a:t>
                </a: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C3B12573-413A-084F-D445-AF7E8F55D6DB}"/>
                  </a:ext>
                </a:extLst>
              </p:cNvPr>
              <p:cNvSpPr txBox="1"/>
              <p:nvPr/>
            </p:nvSpPr>
            <p:spPr>
              <a:xfrm>
                <a:off x="1955020" y="3269413"/>
                <a:ext cx="2119023" cy="17736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5000"/>
                  </a:lnSpc>
                  <a:defRPr/>
                </a:pPr>
                <a:r>
                  <a:rPr lang="en-US" sz="4400" b="1" i="1" spc="-150" dirty="0"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rebuchet MS" panose="020B0603020202020204" pitchFamily="34" charset="0"/>
                    <a:cs typeface="Poppins SemiBold"/>
                    <a:sym typeface="Poppins SemiBold"/>
                  </a:rPr>
                  <a:t>future, faster.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19176261-6013-A8DE-CF65-A7F578370DCC}"/>
                  </a:ext>
                </a:extLst>
              </p:cNvPr>
              <p:cNvSpPr txBox="1"/>
              <p:nvPr/>
            </p:nvSpPr>
            <p:spPr>
              <a:xfrm>
                <a:off x="1340461" y="4168026"/>
                <a:ext cx="2442708" cy="18615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5000"/>
                  </a:lnSpc>
                  <a:defRPr/>
                </a:pPr>
                <a:r>
                  <a:rPr lang="en-US" sz="7200" b="1" i="1" spc="-150" dirty="0">
                    <a:ln w="28575">
                      <a:noFill/>
                    </a:ln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rebuchet MS" panose="020B0603020202020204" pitchFamily="34" charset="0"/>
                    <a:cs typeface="Poppins SemiBold"/>
                    <a:sym typeface="Poppins SemiBold"/>
                  </a:rPr>
                  <a:t>Together</a:t>
                </a:r>
                <a:r>
                  <a:rPr lang="en-US" sz="7200" b="1" i="1" spc="-150" dirty="0">
                    <a:ln w="28575">
                      <a:solidFill>
                        <a:srgbClr val="FFFFFF"/>
                      </a:solidFill>
                    </a:ln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rebuchet MS" panose="020B0603020202020204" pitchFamily="34" charset="0"/>
                    <a:cs typeface="Poppins SemiBold"/>
                    <a:sym typeface="Poppins SemiBold"/>
                  </a:rPr>
                  <a:t>.</a:t>
                </a:r>
              </a:p>
            </p:txBody>
          </p:sp>
        </p:grp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2E19CAF-9066-043A-DDFE-CE0A6EB9C5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684" y="1818835"/>
              <a:ext cx="2717183" cy="771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46319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339C87-6602-AF14-2311-D32E704B83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933DB1ED-9E96-A86D-FC11-62A4BF2D759F}"/>
              </a:ext>
            </a:extLst>
          </p:cNvPr>
          <p:cNvSpPr txBox="1">
            <a:spLocks/>
          </p:cNvSpPr>
          <p:nvPr/>
        </p:nvSpPr>
        <p:spPr>
          <a:xfrm>
            <a:off x="249183" y="-817148"/>
            <a:ext cx="8585883" cy="9268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7" fontAlgn="base">
              <a:lnSpc>
                <a:spcPts val="2600"/>
              </a:lnSpc>
              <a:spcAft>
                <a:spcPct val="0"/>
              </a:spcAft>
              <a:defRPr/>
            </a:pPr>
            <a:endParaRPr lang="en-IN" sz="2400" b="1" kern="0" dirty="0">
              <a:solidFill>
                <a:srgbClr val="203864"/>
              </a:solidFill>
              <a:latin typeface="Frutiger 45 bold"/>
              <a:cs typeface="Calibri" panose="020F050202020403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8B2F894-2A0E-50B9-1D1D-3D69306E7082}"/>
              </a:ext>
            </a:extLst>
          </p:cNvPr>
          <p:cNvSpPr txBox="1"/>
          <p:nvPr/>
        </p:nvSpPr>
        <p:spPr>
          <a:xfrm>
            <a:off x="3813022" y="3804817"/>
            <a:ext cx="743034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jor Programs for Global Banks and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tech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91B1381-76F8-9E2E-AA32-0C42AF4B4719}"/>
              </a:ext>
            </a:extLst>
          </p:cNvPr>
          <p:cNvSpPr txBox="1"/>
          <p:nvPr/>
        </p:nvSpPr>
        <p:spPr>
          <a:xfrm>
            <a:off x="131948" y="1938858"/>
            <a:ext cx="3289037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/>
              </a:rPr>
              <a:t>Core Modernization &amp; Consolid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TP enabl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 En</a:t>
            </a:r>
            <a:r>
              <a:rPr lang="en-US" sz="1000" dirty="0" err="1">
                <a:solidFill>
                  <a:prstClr val="black"/>
                </a:solidFill>
                <a:latin typeface="Calibri" panose="020F0502020204030204"/>
              </a:rPr>
              <a:t>hancement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</a:rPr>
              <a:t> &amp; Migr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/>
              </a:rPr>
              <a:t>Regulatory Compliance including ISO 20022 adop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keniz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/>
              </a:rPr>
              <a:t>Data &amp; Analytics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/>
              </a:rPr>
              <a:t>Quality Engineering &amp; Scheme Certific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ion Suppor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/>
              </a:rPr>
              <a:t>Transaction and Business Activity Monito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ey in Motion, Hyper-Personalization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95231D9-D080-9F60-7B87-45A44C53B21F}"/>
              </a:ext>
            </a:extLst>
          </p:cNvPr>
          <p:cNvGrpSpPr/>
          <p:nvPr/>
        </p:nvGrpSpPr>
        <p:grpSpPr>
          <a:xfrm>
            <a:off x="106265" y="921949"/>
            <a:ext cx="3474435" cy="5300170"/>
            <a:chOff x="197628" y="1421380"/>
            <a:chExt cx="3474435" cy="5300170"/>
          </a:xfrm>
        </p:grpSpPr>
        <p:sp>
          <p:nvSpPr>
            <p:cNvPr id="57" name="Rectangle: Top Corners Rounded 56">
              <a:extLst>
                <a:ext uri="{FF2B5EF4-FFF2-40B4-BE49-F238E27FC236}">
                  <a16:creationId xmlns:a16="http://schemas.microsoft.com/office/drawing/2014/main" id="{702B3A86-875F-3724-5581-7F4E744FE208}"/>
                </a:ext>
              </a:extLst>
            </p:cNvPr>
            <p:cNvSpPr/>
            <p:nvPr/>
          </p:nvSpPr>
          <p:spPr bwMode="auto">
            <a:xfrm rot="10800000">
              <a:off x="197628" y="1775787"/>
              <a:ext cx="3474435" cy="4945763"/>
            </a:xfrm>
            <a:prstGeom prst="round2SameRect">
              <a:avLst/>
            </a:prstGeom>
            <a:noFill/>
            <a:ln w="635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544DE0A3-9D92-84F9-CB87-88B209E2E2D7}"/>
                </a:ext>
              </a:extLst>
            </p:cNvPr>
            <p:cNvGrpSpPr/>
            <p:nvPr/>
          </p:nvGrpSpPr>
          <p:grpSpPr>
            <a:xfrm>
              <a:off x="197634" y="1421380"/>
              <a:ext cx="3327444" cy="638935"/>
              <a:chOff x="197634" y="1421380"/>
              <a:chExt cx="3073624" cy="638935"/>
            </a:xfrm>
          </p:grpSpPr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B521D849-2BA0-E434-C25F-7203593A04C1}"/>
                  </a:ext>
                </a:extLst>
              </p:cNvPr>
              <p:cNvSpPr txBox="1"/>
              <p:nvPr/>
            </p:nvSpPr>
            <p:spPr>
              <a:xfrm>
                <a:off x="841795" y="1523745"/>
                <a:ext cx="2429463" cy="519351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rgbClr val="187489"/>
              </a:solidFill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1218926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Open Sans" pitchFamily="34" charset="0"/>
                  <a:cs typeface="Open Sans" pitchFamily="34" charset="0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9A262F4C-19C9-5B8A-7B24-1E908D0925E5}"/>
                  </a:ext>
                </a:extLst>
              </p:cNvPr>
              <p:cNvSpPr/>
              <p:nvPr/>
            </p:nvSpPr>
            <p:spPr>
              <a:xfrm>
                <a:off x="197634" y="1421380"/>
                <a:ext cx="696004" cy="638935"/>
              </a:xfrm>
              <a:prstGeom prst="ellipse">
                <a:avLst/>
              </a:prstGeom>
              <a:solidFill>
                <a:srgbClr val="187489"/>
              </a:solidFill>
              <a:ln w="3175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12189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8F131A93-DD79-ED40-3D31-44E3B3BC70C3}"/>
              </a:ext>
            </a:extLst>
          </p:cNvPr>
          <p:cNvSpPr txBox="1"/>
          <p:nvPr/>
        </p:nvSpPr>
        <p:spPr>
          <a:xfrm>
            <a:off x="1302976" y="1071761"/>
            <a:ext cx="14963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abilities</a:t>
            </a:r>
          </a:p>
        </p:txBody>
      </p:sp>
      <p:pic>
        <p:nvPicPr>
          <p:cNvPr id="65" name="Graphic 64" descr="Target">
            <a:extLst>
              <a:ext uri="{FF2B5EF4-FFF2-40B4-BE49-F238E27FC236}">
                <a16:creationId xmlns:a16="http://schemas.microsoft.com/office/drawing/2014/main" id="{6ABE79D7-2CBC-8FE9-196D-1A9C03AB62F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9728" y="982725"/>
            <a:ext cx="485307" cy="485307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676CA559-DEF7-8B86-10B2-B09DFB679D9B}"/>
              </a:ext>
            </a:extLst>
          </p:cNvPr>
          <p:cNvSpPr txBox="1"/>
          <p:nvPr/>
        </p:nvSpPr>
        <p:spPr>
          <a:xfrm>
            <a:off x="1362450" y="1607503"/>
            <a:ext cx="7970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0E0A79A-3783-00A1-6C57-E225E2707344}"/>
              </a:ext>
            </a:extLst>
          </p:cNvPr>
          <p:cNvSpPr txBox="1"/>
          <p:nvPr/>
        </p:nvSpPr>
        <p:spPr>
          <a:xfrm>
            <a:off x="259454" y="3659799"/>
            <a:ext cx="295289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ustry Leading Platform Expertis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8BF8520-5724-7902-8FA5-49EDD5CB71E6}"/>
              </a:ext>
            </a:extLst>
          </p:cNvPr>
          <p:cNvSpPr txBox="1"/>
          <p:nvPr/>
        </p:nvSpPr>
        <p:spPr>
          <a:xfrm>
            <a:off x="9010871" y="2045322"/>
            <a:ext cx="198057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marR="0" lvl="0" indent="-10800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EFDFD"/>
              </a:solidFill>
              <a:effectLst/>
              <a:uLnTx/>
              <a:uFillTx/>
              <a:latin typeface="Calibri" panose="020F0502020204030204"/>
              <a:ea typeface="STKaiti"/>
              <a:cs typeface="Calibri" panose="020F0502020204030204" pitchFamily="34" charset="0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DB0A846-AE0D-1BD5-3588-532B28E3EF72}"/>
              </a:ext>
            </a:extLst>
          </p:cNvPr>
          <p:cNvGrpSpPr/>
          <p:nvPr/>
        </p:nvGrpSpPr>
        <p:grpSpPr>
          <a:xfrm>
            <a:off x="10285719" y="4623726"/>
            <a:ext cx="1675516" cy="1698192"/>
            <a:chOff x="10285719" y="4666371"/>
            <a:chExt cx="1675516" cy="1698192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E39782E-D330-D3CF-31C9-6DAC4290297D}"/>
                </a:ext>
              </a:extLst>
            </p:cNvPr>
            <p:cNvSpPr/>
            <p:nvPr/>
          </p:nvSpPr>
          <p:spPr bwMode="auto">
            <a:xfrm>
              <a:off x="10413235" y="4666371"/>
              <a:ext cx="1548000" cy="1548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endParaRPr>
            </a:p>
          </p:txBody>
        </p:sp>
        <p:sp>
          <p:nvSpPr>
            <p:cNvPr id="72" name="Rectangle 4">
              <a:extLst>
                <a:ext uri="{FF2B5EF4-FFF2-40B4-BE49-F238E27FC236}">
                  <a16:creationId xmlns:a16="http://schemas.microsoft.com/office/drawing/2014/main" id="{87FBD5FF-A6EC-DE4E-4282-19432E21C0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5719" y="5041124"/>
              <a:ext cx="1635728" cy="13234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Calibri" panose="020F0502020204030204"/>
                </a:rPr>
                <a:t>A fully ISO native payments solution built in the cloud. Involved in product feature development specific to banks, configurations and testing, hence enabling for rapid growth</a:t>
              </a:r>
            </a:p>
            <a:p>
              <a:pPr marR="0" lvl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endPara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1CBA648-B4E9-4075-2E73-8DB9F3AD5DD1}"/>
              </a:ext>
            </a:extLst>
          </p:cNvPr>
          <p:cNvGrpSpPr/>
          <p:nvPr/>
        </p:nvGrpSpPr>
        <p:grpSpPr>
          <a:xfrm>
            <a:off x="8697407" y="4623726"/>
            <a:ext cx="1588312" cy="1548000"/>
            <a:chOff x="8857687" y="4670732"/>
            <a:chExt cx="1588312" cy="1548000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BA9D9B78-ADB8-BE6B-2451-DDACB6753E21}"/>
                </a:ext>
              </a:extLst>
            </p:cNvPr>
            <p:cNvSpPr/>
            <p:nvPr/>
          </p:nvSpPr>
          <p:spPr bwMode="auto">
            <a:xfrm>
              <a:off x="8894328" y="4670732"/>
              <a:ext cx="1548000" cy="1548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endParaRPr>
            </a:p>
            <a:p>
              <a:pPr marL="0" marR="0" lvl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endParaRPr>
            </a:p>
          </p:txBody>
        </p:sp>
        <p:sp>
          <p:nvSpPr>
            <p:cNvPr id="91" name="Rectangle 4">
              <a:extLst>
                <a:ext uri="{FF2B5EF4-FFF2-40B4-BE49-F238E27FC236}">
                  <a16:creationId xmlns:a16="http://schemas.microsoft.com/office/drawing/2014/main" id="{EBE715D0-A4CA-957A-ACD3-2BD060F04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7687" y="5049181"/>
              <a:ext cx="1588312" cy="11695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Calibri" panose="020F0502020204030204"/>
                </a:rPr>
                <a:t>Phase-wise enablement using </a:t>
              </a:r>
              <a:r>
                <a:rPr lang="en-US" sz="1000" dirty="0" err="1">
                  <a:solidFill>
                    <a:prstClr val="black"/>
                  </a:solidFill>
                  <a:latin typeface="Calibri" panose="020F0502020204030204"/>
                </a:rPr>
                <a:t>VolPay</a:t>
              </a:r>
              <a:r>
                <a:rPr lang="en-US" sz="1000" dirty="0">
                  <a:solidFill>
                    <a:prstClr val="black"/>
                  </a:solidFill>
                  <a:latin typeface="Calibri" panose="020F0502020204030204"/>
                </a:rPr>
                <a:t> (Volante). Customers to have a seamless experience while initiating the payments irrespective of the scheme be it TCH/RTP or </a:t>
              </a:r>
              <a:r>
                <a:rPr lang="en-US" sz="1000" dirty="0" err="1">
                  <a:solidFill>
                    <a:prstClr val="black"/>
                  </a:solidFill>
                  <a:latin typeface="Calibri" panose="020F0502020204030204"/>
                </a:rPr>
                <a:t>FedNow</a:t>
              </a:r>
              <a:r>
                <a:rPr lang="en-US" sz="1000" dirty="0">
                  <a:solidFill>
                    <a:prstClr val="black"/>
                  </a:solidFill>
                  <a:latin typeface="Calibri" panose="020F0502020204030204"/>
                </a:rPr>
                <a:t>.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77705EA9-EB42-4859-D775-0A2DAEDE340F}"/>
              </a:ext>
            </a:extLst>
          </p:cNvPr>
          <p:cNvGrpSpPr/>
          <p:nvPr/>
        </p:nvGrpSpPr>
        <p:grpSpPr>
          <a:xfrm>
            <a:off x="5270450" y="4623726"/>
            <a:ext cx="1659926" cy="1692321"/>
            <a:chOff x="5320260" y="4623726"/>
            <a:chExt cx="1659926" cy="1692321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26157557-2C40-E35A-A837-F4A13F808C44}"/>
                </a:ext>
              </a:extLst>
            </p:cNvPr>
            <p:cNvSpPr/>
            <p:nvPr/>
          </p:nvSpPr>
          <p:spPr bwMode="auto">
            <a:xfrm>
              <a:off x="5432186" y="4623726"/>
              <a:ext cx="1548000" cy="1548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endParaRPr>
            </a:p>
            <a:p>
              <a:pPr marL="0" marR="0" lvl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endParaRPr>
            </a:p>
          </p:txBody>
        </p:sp>
        <p:sp>
          <p:nvSpPr>
            <p:cNvPr id="103" name="Rectangle 4">
              <a:extLst>
                <a:ext uri="{FF2B5EF4-FFF2-40B4-BE49-F238E27FC236}">
                  <a16:creationId xmlns:a16="http://schemas.microsoft.com/office/drawing/2014/main" id="{E73FDC79-F35E-7CD9-DD99-481ED6259C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0260" y="4992608"/>
              <a:ext cx="1557930" cy="13234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iri"/>
                  <a:ea typeface="+mn-lt"/>
                  <a:cs typeface="+mn-lt"/>
                </a:rPr>
                <a:t>Elicitation, Impact analysis, exceptional handling for CBPR+, ESMIG T2 &amp; EURO1 migration from MT to ISO20022 via SWIFT’s Alliance messaging hub.</a:t>
              </a:r>
            </a:p>
            <a:p>
              <a:pPr marL="108000" marR="0" lvl="0" indent="-1080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F5E15077-1442-4D31-4E1C-8247E78B8E2A}"/>
              </a:ext>
            </a:extLst>
          </p:cNvPr>
          <p:cNvGrpSpPr/>
          <p:nvPr/>
        </p:nvGrpSpPr>
        <p:grpSpPr>
          <a:xfrm>
            <a:off x="3629696" y="4623726"/>
            <a:ext cx="1626151" cy="1548000"/>
            <a:chOff x="3629696" y="4628226"/>
            <a:chExt cx="1626151" cy="1548000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B72BECB0-A671-5F40-0F15-A7AC24DB9D1C}"/>
                </a:ext>
              </a:extLst>
            </p:cNvPr>
            <p:cNvSpPr/>
            <p:nvPr/>
          </p:nvSpPr>
          <p:spPr bwMode="auto">
            <a:xfrm>
              <a:off x="3707847" y="4628226"/>
              <a:ext cx="1548000" cy="1548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endParaRPr>
            </a:p>
            <a:p>
              <a:pPr marL="0" marR="0" lvl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endParaRPr>
            </a:p>
          </p:txBody>
        </p:sp>
        <p:sp>
          <p:nvSpPr>
            <p:cNvPr id="106" name="Rectangle 4">
              <a:extLst>
                <a:ext uri="{FF2B5EF4-FFF2-40B4-BE49-F238E27FC236}">
                  <a16:creationId xmlns:a16="http://schemas.microsoft.com/office/drawing/2014/main" id="{DEE688C9-DD94-531E-1CD3-A37AC1B0D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9696" y="4987422"/>
              <a:ext cx="1587145" cy="11695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Calibiri"/>
                  <a:ea typeface="Calibri" panose="020F0502020204030204" pitchFamily="34" charset="0"/>
                  <a:cs typeface="Segoe UI"/>
                </a:rPr>
                <a:t>Orchestration of various payment types through a single channel by leveraging the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Calibiri"/>
                  <a:ea typeface="Calibri" panose="020F0502020204030204" pitchFamily="34" charset="0"/>
                  <a:cs typeface="Segoe UI"/>
                </a:rPr>
                <a:t>Seeburger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Calibiri"/>
                  <a:ea typeface="Calibri" panose="020F0502020204030204" pitchFamily="34" charset="0"/>
                  <a:cs typeface="Segoe UI"/>
                </a:rPr>
                <a:t> BIS tool to replace the legacy mainframe-based application</a:t>
              </a: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E45946B5-47BC-0217-C984-98A6A20390BA}"/>
              </a:ext>
            </a:extLst>
          </p:cNvPr>
          <p:cNvGrpSpPr/>
          <p:nvPr/>
        </p:nvGrpSpPr>
        <p:grpSpPr>
          <a:xfrm>
            <a:off x="3872786" y="1010891"/>
            <a:ext cx="1926336" cy="1918255"/>
            <a:chOff x="878150" y="1152718"/>
            <a:chExt cx="1926336" cy="1721651"/>
          </a:xfrm>
        </p:grpSpPr>
        <p:sp>
          <p:nvSpPr>
            <p:cNvPr id="111" name="Round Same Side Corner Rectangle 52">
              <a:extLst>
                <a:ext uri="{FF2B5EF4-FFF2-40B4-BE49-F238E27FC236}">
                  <a16:creationId xmlns:a16="http://schemas.microsoft.com/office/drawing/2014/main" id="{EA15517C-1A4C-1EB8-993F-708B9A1220B5}"/>
                </a:ext>
              </a:extLst>
            </p:cNvPr>
            <p:cNvSpPr/>
            <p:nvPr/>
          </p:nvSpPr>
          <p:spPr bwMode="auto">
            <a:xfrm>
              <a:off x="878150" y="1152718"/>
              <a:ext cx="1926336" cy="404992"/>
            </a:xfrm>
            <a:prstGeom prst="round2SameRect">
              <a:avLst/>
            </a:prstGeom>
            <a:solidFill>
              <a:srgbClr val="00B49D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EFDFD"/>
                  </a:solidFill>
                  <a:effectLst/>
                  <a:uLnTx/>
                  <a:uFillTx/>
                  <a:latin typeface="Calibri" panose="020F0502020204030204"/>
                  <a:ea typeface="Calibri" charset="0"/>
                  <a:cs typeface="Calibri" panose="020F0502020204030204" pitchFamily="34" charset="0"/>
                </a:rPr>
                <a:t>Payments Processing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E9975EE5-B9F1-C978-DE42-0105F5ABB8CB}"/>
                </a:ext>
              </a:extLst>
            </p:cNvPr>
            <p:cNvSpPr/>
            <p:nvPr/>
          </p:nvSpPr>
          <p:spPr bwMode="auto">
            <a:xfrm>
              <a:off x="906477" y="1606734"/>
              <a:ext cx="1869682" cy="126763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t" anchorCtr="0" compatLnSpc="1">
              <a:prstTxWarp prst="textNoShape">
                <a:avLst/>
              </a:prstTxWarp>
            </a:bodyPr>
            <a:lstStyle/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24079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rPr>
                <a:t>Domestic Payments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124079">
                      <a:lumMod val="50000"/>
                    </a:srgbClr>
                  </a:solidFill>
                  <a:latin typeface="Calibri" panose="020F0502020204030204"/>
                  <a:ea typeface="STKaiti"/>
                  <a:cs typeface="Calibri" panose="020F0502020204030204" pitchFamily="34" charset="0"/>
                </a:rPr>
                <a:t>International Payments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24079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rPr>
                <a:t>Institutional Payments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124079">
                      <a:lumMod val="50000"/>
                    </a:srgbClr>
                  </a:solidFill>
                  <a:latin typeface="Calibri" panose="020F0502020204030204"/>
                  <a:ea typeface="STKaiti"/>
                  <a:cs typeface="Calibri" panose="020F0502020204030204" pitchFamily="34" charset="0"/>
                </a:rPr>
                <a:t>Card Payments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24079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rPr>
                <a:t>Real Time Payments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0DFD85F1-4840-9A11-FE38-21DE6C5B73C7}"/>
              </a:ext>
            </a:extLst>
          </p:cNvPr>
          <p:cNvGrpSpPr/>
          <p:nvPr/>
        </p:nvGrpSpPr>
        <p:grpSpPr>
          <a:xfrm>
            <a:off x="7816122" y="1026751"/>
            <a:ext cx="1926336" cy="1895750"/>
            <a:chOff x="4811833" y="1166952"/>
            <a:chExt cx="1926336" cy="1701453"/>
          </a:xfrm>
        </p:grpSpPr>
        <p:sp>
          <p:nvSpPr>
            <p:cNvPr id="114" name="Round Same Side Corner Rectangle 54">
              <a:extLst>
                <a:ext uri="{FF2B5EF4-FFF2-40B4-BE49-F238E27FC236}">
                  <a16:creationId xmlns:a16="http://schemas.microsoft.com/office/drawing/2014/main" id="{DB581E53-6C1E-E06F-6F4C-BFB8E8E7553F}"/>
                </a:ext>
              </a:extLst>
            </p:cNvPr>
            <p:cNvSpPr/>
            <p:nvPr/>
          </p:nvSpPr>
          <p:spPr bwMode="auto">
            <a:xfrm>
              <a:off x="4811833" y="1166952"/>
              <a:ext cx="1926336" cy="390757"/>
            </a:xfrm>
            <a:prstGeom prst="round2SameRect">
              <a:avLst/>
            </a:prstGeom>
            <a:solidFill>
              <a:srgbClr val="00B49D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21920" tIns="60960" rIns="121920" bIns="6096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EFDFD"/>
                  </a:solidFill>
                  <a:effectLst/>
                  <a:uLnTx/>
                  <a:uFillTx/>
                  <a:latin typeface="Calibri" panose="020F0502020204030204"/>
                  <a:ea typeface="ヒラギノ角ゴ Pro W3" pitchFamily="124" charset="-128"/>
                  <a:cs typeface="Calibri" panose="020F0502020204030204" pitchFamily="34" charset="0"/>
                </a:rPr>
                <a:t>Customer Management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EEC742FB-CA87-0DD5-2114-DD88F012B2FF}"/>
                </a:ext>
              </a:extLst>
            </p:cNvPr>
            <p:cNvSpPr/>
            <p:nvPr/>
          </p:nvSpPr>
          <p:spPr bwMode="auto">
            <a:xfrm>
              <a:off x="4840160" y="1606735"/>
              <a:ext cx="1869682" cy="12616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t" anchorCtr="0" compatLnSpc="1">
              <a:prstTxWarp prst="textNoShape">
                <a:avLst/>
              </a:prstTxWarp>
            </a:bodyPr>
            <a:lstStyle/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24079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Customer Onboarding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124079">
                      <a:lumMod val="50000"/>
                    </a:srgbClr>
                  </a:solidFill>
                  <a:latin typeface="Calibri" panose="020F0502020204030204"/>
                  <a:cs typeface="Calibri" panose="020F0502020204030204" pitchFamily="34" charset="0"/>
                </a:rPr>
                <a:t>Customer Relationship Management 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24079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Customer Self-Service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124079">
                      <a:lumMod val="50000"/>
                    </a:srgbClr>
                  </a:solidFill>
                  <a:latin typeface="Calibri" panose="020F0502020204030204"/>
                  <a:cs typeface="Calibri" panose="020F0502020204030204" pitchFamily="34" charset="0"/>
                </a:rPr>
                <a:t>Customer Feedback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12407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3BF75B0B-8F24-F0A8-D009-2E19B2AB8CAA}"/>
              </a:ext>
            </a:extLst>
          </p:cNvPr>
          <p:cNvGrpSpPr/>
          <p:nvPr/>
        </p:nvGrpSpPr>
        <p:grpSpPr>
          <a:xfrm>
            <a:off x="5843722" y="1026751"/>
            <a:ext cx="1927800" cy="1902395"/>
            <a:chOff x="2857238" y="1166952"/>
            <a:chExt cx="1927800" cy="1707417"/>
          </a:xfrm>
        </p:grpSpPr>
        <p:sp>
          <p:nvSpPr>
            <p:cNvPr id="117" name="Round Same Side Corner Rectangle 53">
              <a:extLst>
                <a:ext uri="{FF2B5EF4-FFF2-40B4-BE49-F238E27FC236}">
                  <a16:creationId xmlns:a16="http://schemas.microsoft.com/office/drawing/2014/main" id="{9BC05B43-E019-BB7B-2BE7-752155E7D461}"/>
                </a:ext>
              </a:extLst>
            </p:cNvPr>
            <p:cNvSpPr/>
            <p:nvPr/>
          </p:nvSpPr>
          <p:spPr bwMode="auto">
            <a:xfrm>
              <a:off x="2857238" y="1166952"/>
              <a:ext cx="1927800" cy="390757"/>
            </a:xfrm>
            <a:prstGeom prst="round2SameRect">
              <a:avLst/>
            </a:prstGeom>
            <a:solidFill>
              <a:srgbClr val="08558C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21920" tIns="60960" rIns="121920" bIns="6096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EFDFD"/>
                  </a:solidFill>
                  <a:effectLst/>
                  <a:uLnTx/>
                  <a:uFillTx/>
                  <a:latin typeface="Calibri" panose="020F0502020204030204"/>
                  <a:ea typeface="Calibri" charset="0"/>
                  <a:cs typeface="Calibri" panose="020F0502020204030204" pitchFamily="34" charset="0"/>
                </a:rPr>
                <a:t>Fraud, Risk Mgmt. &amp;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EFDFD"/>
                  </a:solidFill>
                  <a:effectLst/>
                  <a:uLnTx/>
                  <a:uFillTx/>
                  <a:latin typeface="Calibri" panose="020F0502020204030204"/>
                  <a:ea typeface="Calibri" charset="0"/>
                  <a:cs typeface="Calibri" panose="020F0502020204030204" pitchFamily="34" charset="0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EFDFD"/>
                  </a:solidFill>
                  <a:effectLst/>
                  <a:uLnTx/>
                  <a:uFillTx/>
                  <a:latin typeface="Calibri" panose="020F0502020204030204"/>
                  <a:ea typeface="Calibri" charset="0"/>
                  <a:cs typeface="Calibri" panose="020F0502020204030204" pitchFamily="34" charset="0"/>
                </a:rPr>
                <a:t>Reporting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B2DE3BB9-1291-41F8-ECA4-5758D636B928}"/>
                </a:ext>
              </a:extLst>
            </p:cNvPr>
            <p:cNvSpPr/>
            <p:nvPr/>
          </p:nvSpPr>
          <p:spPr bwMode="auto">
            <a:xfrm>
              <a:off x="2884828" y="1606734"/>
              <a:ext cx="1872622" cy="126763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t" anchorCtr="0" compatLnSpc="1">
              <a:prstTxWarp prst="textNoShape">
                <a:avLst/>
              </a:prstTxWarp>
            </a:bodyPr>
            <a:lstStyle/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24079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rPr>
                <a:t>Fraud detection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124079">
                      <a:lumMod val="50000"/>
                    </a:srgbClr>
                  </a:solidFill>
                  <a:latin typeface="Calibri" panose="020F0502020204030204"/>
                  <a:ea typeface="STKaiti"/>
                  <a:cs typeface="Calibri" panose="020F0502020204030204" pitchFamily="34" charset="0"/>
                </a:rPr>
                <a:t>Risk assessment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24079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rPr>
                <a:t>Chargeback Management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124079">
                      <a:lumMod val="50000"/>
                    </a:srgbClr>
                  </a:solidFill>
                  <a:latin typeface="Calibri" panose="020F0502020204030204"/>
                  <a:ea typeface="STKaiti"/>
                  <a:cs typeface="Calibri" panose="020F0502020204030204" pitchFamily="34" charset="0"/>
                </a:rPr>
                <a:t>Compliance Monitoring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24079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rPr>
                <a:t>Regulatory Compliance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124079">
                      <a:lumMod val="50000"/>
                    </a:srgbClr>
                  </a:solidFill>
                  <a:latin typeface="Calibri" panose="020F0502020204030204"/>
                  <a:ea typeface="STKaiti"/>
                  <a:cs typeface="Calibri" panose="020F0502020204030204" pitchFamily="34" charset="0"/>
                </a:rPr>
                <a:t>Financial Reporting 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24079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rPr>
                <a:t>Audit &amp; Control</a:t>
              </a: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62F02FAE-9523-B5C0-63BE-D9264388D50A}"/>
              </a:ext>
            </a:extLst>
          </p:cNvPr>
          <p:cNvGrpSpPr/>
          <p:nvPr/>
        </p:nvGrpSpPr>
        <p:grpSpPr>
          <a:xfrm>
            <a:off x="9787057" y="1005624"/>
            <a:ext cx="1947871" cy="1916878"/>
            <a:chOff x="6779372" y="1147990"/>
            <a:chExt cx="1947871" cy="1720415"/>
          </a:xfrm>
        </p:grpSpPr>
        <p:sp>
          <p:nvSpPr>
            <p:cNvPr id="120" name="Round Same Side Corner Rectangle 68">
              <a:extLst>
                <a:ext uri="{FF2B5EF4-FFF2-40B4-BE49-F238E27FC236}">
                  <a16:creationId xmlns:a16="http://schemas.microsoft.com/office/drawing/2014/main" id="{4E01D3FB-DDE8-C895-E145-A6C320A06AE8}"/>
                </a:ext>
              </a:extLst>
            </p:cNvPr>
            <p:cNvSpPr/>
            <p:nvPr/>
          </p:nvSpPr>
          <p:spPr bwMode="auto">
            <a:xfrm>
              <a:off x="6779372" y="1147990"/>
              <a:ext cx="1947871" cy="409719"/>
            </a:xfrm>
            <a:prstGeom prst="round2SameRect">
              <a:avLst/>
            </a:prstGeom>
            <a:solidFill>
              <a:srgbClr val="08558C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21920" tIns="60960" rIns="121920" bIns="6096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EFDFD"/>
                  </a:solidFill>
                  <a:effectLst/>
                  <a:uLnTx/>
                  <a:uFillTx/>
                  <a:latin typeface="Calibri" panose="020F0502020204030204"/>
                  <a:ea typeface="ヒラギノ角ゴ Pro W3" pitchFamily="124" charset="-128"/>
                  <a:cs typeface="Calibri" panose="020F0502020204030204" pitchFamily="34" charset="0"/>
                </a:rPr>
                <a:t>Technology &amp; Integration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837F018F-5174-D1D4-FC96-328CEF328BC6}"/>
                </a:ext>
              </a:extLst>
            </p:cNvPr>
            <p:cNvSpPr/>
            <p:nvPr/>
          </p:nvSpPr>
          <p:spPr bwMode="auto">
            <a:xfrm>
              <a:off x="6818466" y="1606735"/>
              <a:ext cx="1869682" cy="12616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t" anchorCtr="0" compatLnSpc="1">
              <a:prstTxWarp prst="textNoShape">
                <a:avLst/>
              </a:prstTxWarp>
            </a:bodyPr>
            <a:lstStyle/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24079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API Integration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124079">
                      <a:lumMod val="50000"/>
                    </a:srgbClr>
                  </a:solidFill>
                  <a:latin typeface="Calibri" panose="020F0502020204030204"/>
                  <a:cs typeface="Calibri" panose="020F0502020204030204" pitchFamily="34" charset="0"/>
                </a:rPr>
                <a:t>Core banking integration 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24079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Security &amp; Access Management</a:t>
              </a:r>
            </a:p>
            <a:p>
              <a:pPr marL="121917" marR="0" lvl="0" indent="-121917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  <a:buSzPct val="80000"/>
                <a:buFont typeface="Arial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124079">
                      <a:lumMod val="50000"/>
                    </a:srgbClr>
                  </a:solidFill>
                  <a:latin typeface="Calibri" panose="020F0502020204030204"/>
                  <a:cs typeface="Calibri" panose="020F0502020204030204" pitchFamily="34" charset="0"/>
                </a:rPr>
                <a:t>Client Self-Service Portal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12407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122" name="Picture 121">
            <a:extLst>
              <a:ext uri="{FF2B5EF4-FFF2-40B4-BE49-F238E27FC236}">
                <a16:creationId xmlns:a16="http://schemas.microsoft.com/office/drawing/2014/main" id="{2E1BCB21-760A-9F47-5B23-C12DEE0E238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4895821" y="2060419"/>
            <a:ext cx="1828800" cy="26670"/>
          </a:xfrm>
          <a:prstGeom prst="rect">
            <a:avLst/>
          </a:prstGeom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38E44FED-0F3A-0143-AB81-C0ABD79EB3C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6876115" y="2083753"/>
            <a:ext cx="1828800" cy="26670"/>
          </a:xfrm>
          <a:prstGeom prst="rect">
            <a:avLst/>
          </a:prstGeom>
        </p:spPr>
      </p:pic>
      <p:pic>
        <p:nvPicPr>
          <p:cNvPr id="124" name="Picture 123">
            <a:extLst>
              <a:ext uri="{FF2B5EF4-FFF2-40B4-BE49-F238E27FC236}">
                <a16:creationId xmlns:a16="http://schemas.microsoft.com/office/drawing/2014/main" id="{A2A4D5C0-9A83-3EC7-B7AE-D64BF38516E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8836856" y="2065321"/>
            <a:ext cx="1828800" cy="26670"/>
          </a:xfrm>
          <a:prstGeom prst="rect">
            <a:avLst/>
          </a:prstGeom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389C005-DBBE-1D3C-7220-DD70072657B4}"/>
              </a:ext>
            </a:extLst>
          </p:cNvPr>
          <p:cNvGrpSpPr/>
          <p:nvPr/>
        </p:nvGrpSpPr>
        <p:grpSpPr>
          <a:xfrm>
            <a:off x="3724129" y="2897345"/>
            <a:ext cx="2978820" cy="810914"/>
            <a:chOff x="3872785" y="3256758"/>
            <a:chExt cx="2978820" cy="810914"/>
          </a:xfrm>
        </p:grpSpPr>
        <p:sp>
          <p:nvSpPr>
            <p:cNvPr id="126" name="object 56">
              <a:extLst>
                <a:ext uri="{FF2B5EF4-FFF2-40B4-BE49-F238E27FC236}">
                  <a16:creationId xmlns:a16="http://schemas.microsoft.com/office/drawing/2014/main" id="{CB5CE986-4274-2530-B77D-499580C49283}"/>
                </a:ext>
              </a:extLst>
            </p:cNvPr>
            <p:cNvSpPr txBox="1"/>
            <p:nvPr/>
          </p:nvSpPr>
          <p:spPr>
            <a:xfrm>
              <a:off x="3872785" y="3256758"/>
              <a:ext cx="2835677" cy="810914"/>
            </a:xfrm>
            <a:prstGeom prst="rect">
              <a:avLst/>
            </a:prstGeom>
            <a:solidFill>
              <a:schemeClr val="bg1"/>
            </a:solidFill>
            <a:effectLst>
              <a:outerShdw blurRad="38100" dist="381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731520" tIns="0" rIns="0" bIns="0" rtlCol="0" anchor="ctr">
              <a:noAutofit/>
            </a:bodyPr>
            <a:lstStyle/>
            <a:p>
              <a:pPr marL="29209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10000"/>
                  </a:prst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4FFDBB75-4078-F3C1-5AA0-A2E2A2711BDC}"/>
                </a:ext>
              </a:extLst>
            </p:cNvPr>
            <p:cNvSpPr txBox="1"/>
            <p:nvPr/>
          </p:nvSpPr>
          <p:spPr>
            <a:xfrm>
              <a:off x="4289903" y="3318064"/>
              <a:ext cx="2561702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9209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rPr>
                <a:t>Domain &amp; Technology Consulting</a:t>
              </a: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10000"/>
                  </a:prst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E5F30B-99F3-16AF-3D31-2D09A5E9CABF}"/>
                </a:ext>
              </a:extLst>
            </p:cNvPr>
            <p:cNvSpPr txBox="1"/>
            <p:nvPr/>
          </p:nvSpPr>
          <p:spPr>
            <a:xfrm>
              <a:off x="4323920" y="3537612"/>
              <a:ext cx="2384543" cy="5077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0">
                  <a:solidFill>
                    <a:prstClr val="black"/>
                  </a:solidFill>
                  <a:latin typeface="Calibri" panose="020F0502020204030204"/>
                  <a:ea typeface="ヒラギノ角ゴ Pro W3" pitchFamily="124" charset="-128"/>
                </a:rPr>
                <a:t>Current State Assessment, Define Future State with Roadmap </a:t>
              </a: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ヒラギノ角ゴ Pro W3" pitchFamily="124" charset="-128"/>
                <a:cs typeface="+mn-cs"/>
              </a:endParaRPr>
            </a:p>
          </p:txBody>
        </p:sp>
        <p:pic>
          <p:nvPicPr>
            <p:cNvPr id="129" name="Picture 128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B55729FC-1DD7-3769-636C-AFC80A7A95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39242" y="3429000"/>
              <a:ext cx="551022" cy="450242"/>
            </a:xfrm>
            <a:prstGeom prst="rect">
              <a:avLst/>
            </a:prstGeom>
          </p:spPr>
        </p:pic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1A3EC65-9656-2C99-6B6B-597C03D9D881}"/>
              </a:ext>
            </a:extLst>
          </p:cNvPr>
          <p:cNvGrpSpPr/>
          <p:nvPr/>
        </p:nvGrpSpPr>
        <p:grpSpPr>
          <a:xfrm>
            <a:off x="6702949" y="2898444"/>
            <a:ext cx="3041548" cy="810914"/>
            <a:chOff x="6603473" y="3253984"/>
            <a:chExt cx="3041548" cy="810914"/>
          </a:xfrm>
        </p:grpSpPr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921601B-CD80-E6A5-D039-003F021100A6}"/>
                </a:ext>
              </a:extLst>
            </p:cNvPr>
            <p:cNvGrpSpPr/>
            <p:nvPr/>
          </p:nvGrpSpPr>
          <p:grpSpPr>
            <a:xfrm>
              <a:off x="6603473" y="3253984"/>
              <a:ext cx="3041548" cy="810914"/>
              <a:chOff x="3937998" y="3256758"/>
              <a:chExt cx="3041548" cy="810914"/>
            </a:xfrm>
          </p:grpSpPr>
          <p:sp>
            <p:nvSpPr>
              <p:cNvPr id="133" name="object 56">
                <a:extLst>
                  <a:ext uri="{FF2B5EF4-FFF2-40B4-BE49-F238E27FC236}">
                    <a16:creationId xmlns:a16="http://schemas.microsoft.com/office/drawing/2014/main" id="{4E40D7C8-95D7-2EA6-DFCC-5D8E7B8A2274}"/>
                  </a:ext>
                </a:extLst>
              </p:cNvPr>
              <p:cNvSpPr txBox="1"/>
              <p:nvPr/>
            </p:nvSpPr>
            <p:spPr>
              <a:xfrm>
                <a:off x="3937998" y="3256758"/>
                <a:ext cx="2531055" cy="810914"/>
              </a:xfrm>
              <a:prstGeom prst="rect">
                <a:avLst/>
              </a:prstGeom>
              <a:solidFill>
                <a:schemeClr val="bg1"/>
              </a:solidFill>
              <a:effectLst>
                <a:outerShdw blurRad="381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731520" tIns="0" rIns="0" bIns="0" rtlCol="0" anchor="ctr">
                <a:noAutofit/>
              </a:bodyPr>
              <a:lstStyle/>
              <a:p>
                <a:pPr marL="29209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10000"/>
                    </a:prstClr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endParaRPr>
              </a:p>
            </p:txBody>
          </p:sp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0B1ABE0E-E443-6DBC-FF5F-558734DE3EC2}"/>
                  </a:ext>
                </a:extLst>
              </p:cNvPr>
              <p:cNvSpPr txBox="1"/>
              <p:nvPr/>
            </p:nvSpPr>
            <p:spPr>
              <a:xfrm>
                <a:off x="4417843" y="3316803"/>
                <a:ext cx="2561703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9209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        </a:t>
                </a:r>
                <a:r>
                  <a:rPr kumimoji="0" lang="en-US" sz="13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Platform Selection</a:t>
                </a:r>
              </a:p>
              <a:p>
                <a:pPr marL="29209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10000"/>
                    </a:prstClr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endParaRP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4E90C50F-E221-94FE-1498-1CF1E4DB6F4E}"/>
                  </a:ext>
                </a:extLst>
              </p:cNvPr>
              <p:cNvSpPr txBox="1"/>
              <p:nvPr/>
            </p:nvSpPr>
            <p:spPr>
              <a:xfrm>
                <a:off x="4415385" y="3536484"/>
                <a:ext cx="2196810" cy="5077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ヒラギノ角ゴ Pro W3" pitchFamily="124" charset="-128"/>
                    <a:cs typeface="+mn-cs"/>
                  </a:rPr>
                  <a:t>COTS platform or custom solution recommendation</a:t>
                </a:r>
              </a:p>
            </p:txBody>
          </p:sp>
        </p:grpSp>
        <p:pic>
          <p:nvPicPr>
            <p:cNvPr id="132" name="Picture 13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4E494D96-423F-FEFA-371C-E185FB312E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40409" y="3417583"/>
              <a:ext cx="416231" cy="445996"/>
            </a:xfrm>
            <a:prstGeom prst="rect">
              <a:avLst/>
            </a:prstGeom>
          </p:spPr>
        </p:pic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2F078714-86CF-6A25-7F18-A633EA703155}"/>
              </a:ext>
            </a:extLst>
          </p:cNvPr>
          <p:cNvGrpSpPr/>
          <p:nvPr/>
        </p:nvGrpSpPr>
        <p:grpSpPr>
          <a:xfrm>
            <a:off x="9387859" y="2905165"/>
            <a:ext cx="2842965" cy="810914"/>
            <a:chOff x="9363759" y="3260543"/>
            <a:chExt cx="2842965" cy="810914"/>
          </a:xfrm>
        </p:grpSpPr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71B5F1C0-0A89-B9DC-08CE-8C1B3B4A5F40}"/>
                </a:ext>
              </a:extLst>
            </p:cNvPr>
            <p:cNvGrpSpPr/>
            <p:nvPr/>
          </p:nvGrpSpPr>
          <p:grpSpPr>
            <a:xfrm>
              <a:off x="9363759" y="3260543"/>
              <a:ext cx="2842965" cy="810914"/>
              <a:chOff x="3872786" y="3256758"/>
              <a:chExt cx="2842965" cy="810914"/>
            </a:xfrm>
          </p:grpSpPr>
          <p:sp>
            <p:nvSpPr>
              <p:cNvPr id="139" name="object 56">
                <a:extLst>
                  <a:ext uri="{FF2B5EF4-FFF2-40B4-BE49-F238E27FC236}">
                    <a16:creationId xmlns:a16="http://schemas.microsoft.com/office/drawing/2014/main" id="{C93103AD-C3C7-41CB-3B96-40AE872C8BBA}"/>
                  </a:ext>
                </a:extLst>
              </p:cNvPr>
              <p:cNvSpPr txBox="1"/>
              <p:nvPr/>
            </p:nvSpPr>
            <p:spPr>
              <a:xfrm>
                <a:off x="3872786" y="3256758"/>
                <a:ext cx="2672192" cy="810914"/>
              </a:xfrm>
              <a:prstGeom prst="rect">
                <a:avLst/>
              </a:prstGeom>
              <a:solidFill>
                <a:schemeClr val="bg1"/>
              </a:solidFill>
              <a:effectLst>
                <a:outerShdw blurRad="381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731520" tIns="0" rIns="0" bIns="0" rtlCol="0" anchor="ctr">
                <a:noAutofit/>
              </a:bodyPr>
              <a:lstStyle/>
              <a:p>
                <a:pPr marL="29209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10000"/>
                    </a:prstClr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endParaRPr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C2B60244-9305-A605-9A82-E3342107B02E}"/>
                  </a:ext>
                </a:extLst>
              </p:cNvPr>
              <p:cNvSpPr txBox="1"/>
              <p:nvPr/>
            </p:nvSpPr>
            <p:spPr>
              <a:xfrm>
                <a:off x="4154048" y="3317095"/>
                <a:ext cx="2561703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9209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        </a:t>
                </a:r>
                <a:r>
                  <a:rPr kumimoji="0" lang="en-US" sz="13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BFS Innovation Lab</a:t>
                </a:r>
              </a:p>
              <a:p>
                <a:pPr marL="29209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10000"/>
                    </a:prstClr>
                  </a:solidFill>
                  <a:effectLst/>
                  <a:uLnTx/>
                  <a:uFillTx/>
                  <a:latin typeface="Calibri" panose="020F0502020204030204"/>
                  <a:ea typeface="STKaiti"/>
                  <a:cs typeface="Calibri" panose="020F0502020204030204" pitchFamily="34" charset="0"/>
                </a:endParaRPr>
              </a:p>
            </p:txBody>
          </p: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F1BAFFD8-2888-0AA0-B055-AEDDA00E0107}"/>
                  </a:ext>
                </a:extLst>
              </p:cNvPr>
              <p:cNvSpPr txBox="1"/>
              <p:nvPr/>
            </p:nvSpPr>
            <p:spPr>
              <a:xfrm>
                <a:off x="4336653" y="3537745"/>
                <a:ext cx="2251979" cy="51110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kern="0">
                    <a:solidFill>
                      <a:prstClr val="black"/>
                    </a:solidFill>
                    <a:latin typeface="Calibri" panose="020F0502020204030204"/>
                    <a:ea typeface="ヒラギノ角ゴ Pro W3" pitchFamily="124" charset="-128"/>
                  </a:rPr>
                  <a:t>Building competency for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ヒラギノ角ゴ Pro W3" pitchFamily="124" charset="-128"/>
                    <a:cs typeface="+mn-cs"/>
                  </a:rPr>
                  <a:t> global product /platforms</a:t>
                </a:r>
              </a:p>
            </p:txBody>
          </p:sp>
        </p:grpSp>
        <p:pic>
          <p:nvPicPr>
            <p:cNvPr id="138" name="Picture 137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2376F229-B1C0-D9EE-9EB7-DE6E7D50DC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491715" y="3500025"/>
              <a:ext cx="618506" cy="410097"/>
            </a:xfrm>
            <a:prstGeom prst="rect">
              <a:avLst/>
            </a:prstGeom>
          </p:spPr>
        </p:pic>
      </p:grpSp>
      <p:pic>
        <p:nvPicPr>
          <p:cNvPr id="142" name="Picture 20">
            <a:extLst>
              <a:ext uri="{FF2B5EF4-FFF2-40B4-BE49-F238E27FC236}">
                <a16:creationId xmlns:a16="http://schemas.microsoft.com/office/drawing/2014/main" id="{76E63D78-75F9-5226-226E-51E5E2C3EA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240" y="4201432"/>
            <a:ext cx="541931" cy="26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TextBox 142">
            <a:extLst>
              <a:ext uri="{FF2B5EF4-FFF2-40B4-BE49-F238E27FC236}">
                <a16:creationId xmlns:a16="http://schemas.microsoft.com/office/drawing/2014/main" id="{D560E9F8-4938-8506-294F-5445BBC96E8F}"/>
              </a:ext>
            </a:extLst>
          </p:cNvPr>
          <p:cNvSpPr txBox="1"/>
          <p:nvPr/>
        </p:nvSpPr>
        <p:spPr>
          <a:xfrm>
            <a:off x="137660" y="4840299"/>
            <a:ext cx="33351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ong Innovation and Partner Ecosystem</a:t>
            </a:r>
          </a:p>
        </p:txBody>
      </p:sp>
      <p:pic>
        <p:nvPicPr>
          <p:cNvPr id="144" name="Picture 4" descr="Chennai-based M2P Fintech raises $35 million in Series C ...">
            <a:extLst>
              <a:ext uri="{FF2B5EF4-FFF2-40B4-BE49-F238E27FC236}">
                <a16:creationId xmlns:a16="http://schemas.microsoft.com/office/drawing/2014/main" id="{E8832AE1-A8AA-D5EC-47F8-8276F71C15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621" y="5285420"/>
            <a:ext cx="493753" cy="283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14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273D159-4873-A09C-A1B8-FBC37035233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63" y="5782449"/>
            <a:ext cx="1005403" cy="207592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91CD526D-5F94-7AA5-3126-CE0DE5C52F5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9381" y="5264622"/>
            <a:ext cx="394570" cy="303076"/>
          </a:xfrm>
          <a:prstGeom prst="rect">
            <a:avLst/>
          </a:prstGeom>
        </p:spPr>
      </p:pic>
      <p:pic>
        <p:nvPicPr>
          <p:cNvPr id="147" name="Picture 146">
            <a:extLst>
              <a:ext uri="{FF2B5EF4-FFF2-40B4-BE49-F238E27FC236}">
                <a16:creationId xmlns:a16="http://schemas.microsoft.com/office/drawing/2014/main" id="{A1E9FDDE-0775-F9FE-097E-521EBF1B769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287868" y="5303244"/>
            <a:ext cx="824598" cy="264454"/>
          </a:xfrm>
          <a:prstGeom prst="rect">
            <a:avLst/>
          </a:prstGeom>
        </p:spPr>
      </p:pic>
      <p:grpSp>
        <p:nvGrpSpPr>
          <p:cNvPr id="148" name="Group 147">
            <a:extLst>
              <a:ext uri="{FF2B5EF4-FFF2-40B4-BE49-F238E27FC236}">
                <a16:creationId xmlns:a16="http://schemas.microsoft.com/office/drawing/2014/main" id="{FDDFBE7B-4852-671B-C3C1-31536F752F70}"/>
              </a:ext>
            </a:extLst>
          </p:cNvPr>
          <p:cNvGrpSpPr/>
          <p:nvPr/>
        </p:nvGrpSpPr>
        <p:grpSpPr>
          <a:xfrm>
            <a:off x="6997602" y="4623726"/>
            <a:ext cx="1608931" cy="1548000"/>
            <a:chOff x="7139086" y="4628279"/>
            <a:chExt cx="1608931" cy="1548000"/>
          </a:xfrm>
        </p:grpSpPr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C5DFC842-AB13-C4B0-E2D1-A61600715297}"/>
                </a:ext>
              </a:extLst>
            </p:cNvPr>
            <p:cNvSpPr/>
            <p:nvPr/>
          </p:nvSpPr>
          <p:spPr bwMode="auto">
            <a:xfrm>
              <a:off x="7200017" y="4628279"/>
              <a:ext cx="1548000" cy="1548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endParaRPr>
            </a:p>
            <a:p>
              <a:pPr marL="0" marR="0" lvl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endParaRPr>
            </a:p>
          </p:txBody>
        </p:sp>
        <p:sp>
          <p:nvSpPr>
            <p:cNvPr id="150" name="Rectangle 4">
              <a:extLst>
                <a:ext uri="{FF2B5EF4-FFF2-40B4-BE49-F238E27FC236}">
                  <a16:creationId xmlns:a16="http://schemas.microsoft.com/office/drawing/2014/main" id="{8D66DE84-0DAC-AD35-4392-CDFCF55B96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9086" y="4982298"/>
              <a:ext cx="1594367" cy="11695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>
                  <a:solidFill>
                    <a:srgbClr val="000000"/>
                  </a:solidFill>
                  <a:latin typeface="Calibiri"/>
                  <a:cs typeface="Segoe UI"/>
                </a:rPr>
                <a:t>Enable bank to receive cross-border payments with customizations at Core banking (including Flex &amp; V+) and Upstream applications like Sanctions and fraud</a:t>
              </a:r>
            </a:p>
          </p:txBody>
        </p:sp>
      </p:grpSp>
      <p:pic>
        <p:nvPicPr>
          <p:cNvPr id="151" name="Picture 150">
            <a:extLst>
              <a:ext uri="{FF2B5EF4-FFF2-40B4-BE49-F238E27FC236}">
                <a16:creationId xmlns:a16="http://schemas.microsoft.com/office/drawing/2014/main" id="{D19E982D-696F-D55A-0374-9C9EC12A00D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876016" y="5742884"/>
            <a:ext cx="846992" cy="304048"/>
          </a:xfrm>
          <a:prstGeom prst="rect">
            <a:avLst/>
          </a:prstGeom>
        </p:spPr>
      </p:pic>
      <p:pic>
        <p:nvPicPr>
          <p:cNvPr id="152" name="Picture 151" descr="CLICK HERE Web Button (mouse cursor pointer connection go) Stock Vector |  Adobe Stock">
            <a:hlinkClick r:id="" action="ppaction://noaction"/>
            <a:extLst>
              <a:ext uri="{FF2B5EF4-FFF2-40B4-BE49-F238E27FC236}">
                <a16:creationId xmlns:a16="http://schemas.microsoft.com/office/drawing/2014/main" id="{1415101A-A1D8-3D6E-030E-C05F0FC90A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480717">
            <a:off x="11423932" y="588570"/>
            <a:ext cx="331958" cy="331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" name="Picture 18" descr="Finastra Harmonizes Origination for Deposits, Loans and Mortgages to  Provide a Seamless Digital Experience | Financial IT">
            <a:extLst>
              <a:ext uri="{FF2B5EF4-FFF2-40B4-BE49-F238E27FC236}">
                <a16:creationId xmlns:a16="http://schemas.microsoft.com/office/drawing/2014/main" id="{F75B0058-07D5-9A66-819E-34A0DDE1C1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3323" y="4195335"/>
            <a:ext cx="712356" cy="381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" name="Picture 24" descr="ACI Worldwide, Constant Team to Promote Consumer Digital Engagement">
            <a:extLst>
              <a:ext uri="{FF2B5EF4-FFF2-40B4-BE49-F238E27FC236}">
                <a16:creationId xmlns:a16="http://schemas.microsoft.com/office/drawing/2014/main" id="{73ECE046-3FF7-B534-8D9B-03EC76EA5A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353" y="4562384"/>
            <a:ext cx="369015" cy="252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154">
            <a:extLst>
              <a:ext uri="{FF2B5EF4-FFF2-40B4-BE49-F238E27FC236}">
                <a16:creationId xmlns:a16="http://schemas.microsoft.com/office/drawing/2014/main" id="{7372D131-B389-EBF2-2E52-20FE1034EB81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 t="25151" b="26744"/>
          <a:stretch/>
        </p:blipFill>
        <p:spPr>
          <a:xfrm>
            <a:off x="1040130" y="4521907"/>
            <a:ext cx="620031" cy="298266"/>
          </a:xfrm>
          <a:prstGeom prst="rect">
            <a:avLst/>
          </a:prstGeom>
        </p:spPr>
      </p:pic>
      <p:pic>
        <p:nvPicPr>
          <p:cNvPr id="156" name="Picture 155">
            <a:extLst>
              <a:ext uri="{FF2B5EF4-FFF2-40B4-BE49-F238E27FC236}">
                <a16:creationId xmlns:a16="http://schemas.microsoft.com/office/drawing/2014/main" id="{5B1D146D-A8F0-6D0A-20FF-62EC54132DD5}"/>
              </a:ext>
            </a:extLst>
          </p:cNvPr>
          <p:cNvPicPr>
            <a:picLocks noChangeAspect="1"/>
          </p:cNvPicPr>
          <p:nvPr/>
        </p:nvPicPr>
        <p:blipFill>
          <a:blip r:embed="rId18"/>
          <a:srcRect l="4398" t="36918" r="6834" b="41194"/>
          <a:stretch/>
        </p:blipFill>
        <p:spPr>
          <a:xfrm>
            <a:off x="2164045" y="4245491"/>
            <a:ext cx="926070" cy="268617"/>
          </a:xfrm>
          <a:prstGeom prst="rect">
            <a:avLst/>
          </a:prstGeom>
        </p:spPr>
      </p:pic>
      <p:sp>
        <p:nvSpPr>
          <p:cNvPr id="157" name="TextBox 156">
            <a:extLst>
              <a:ext uri="{FF2B5EF4-FFF2-40B4-BE49-F238E27FC236}">
                <a16:creationId xmlns:a16="http://schemas.microsoft.com/office/drawing/2014/main" id="{8F8897CE-FAEC-ADE6-38B3-C74EAC4FA381}"/>
              </a:ext>
            </a:extLst>
          </p:cNvPr>
          <p:cNvSpPr txBox="1"/>
          <p:nvPr/>
        </p:nvSpPr>
        <p:spPr>
          <a:xfrm>
            <a:off x="3708390" y="4627951"/>
            <a:ext cx="154279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STKaiti"/>
                <a:cs typeface="+mn-cs"/>
              </a:rPr>
              <a:t>Payments Channel Modernization Partner</a:t>
            </a:r>
          </a:p>
        </p:txBody>
      </p:sp>
      <p:pic>
        <p:nvPicPr>
          <p:cNvPr id="158" name="Picture 157" descr="Logo&#10;&#10;Description automatically generated">
            <a:extLst>
              <a:ext uri="{FF2B5EF4-FFF2-40B4-BE49-F238E27FC236}">
                <a16:creationId xmlns:a16="http://schemas.microsoft.com/office/drawing/2014/main" id="{2304F38D-0C1E-A22C-1A74-C40400DA3705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221" y="4224566"/>
            <a:ext cx="605294" cy="363707"/>
          </a:xfrm>
          <a:prstGeom prst="rect">
            <a:avLst/>
          </a:prstGeom>
        </p:spPr>
      </p:pic>
      <p:pic>
        <p:nvPicPr>
          <p:cNvPr id="159" name="Picture 158" descr="Finastra Harmonizes Origination for Deposits, Loans and Mortgages to  Provide a Seamless Digital Experience | Financial IT">
            <a:extLst>
              <a:ext uri="{FF2B5EF4-FFF2-40B4-BE49-F238E27FC236}">
                <a16:creationId xmlns:a16="http://schemas.microsoft.com/office/drawing/2014/main" id="{299E312A-2BCF-9461-8793-6716E642C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93528" y="4198691"/>
            <a:ext cx="696383" cy="38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0" name="Picture 159" descr="Absa Group Limited - Wikipedia">
            <a:extLst>
              <a:ext uri="{FF2B5EF4-FFF2-40B4-BE49-F238E27FC236}">
                <a16:creationId xmlns:a16="http://schemas.microsoft.com/office/drawing/2014/main" id="{4C677326-D1CE-438E-4E95-EB94A2D0B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4266" y="4208053"/>
            <a:ext cx="418186" cy="418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" name="Picture 2" descr="The Bank of New York Mellon Corporation ...">
            <a:extLst>
              <a:ext uri="{FF2B5EF4-FFF2-40B4-BE49-F238E27FC236}">
                <a16:creationId xmlns:a16="http://schemas.microsoft.com/office/drawing/2014/main" id="{26F0ABE5-F559-27C6-42D1-19218E1237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8953" y="4234669"/>
            <a:ext cx="1123444" cy="336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31ACB24D-7701-E03F-D10A-AB78B06BE4E5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1036" y="4331356"/>
            <a:ext cx="819870" cy="220660"/>
          </a:xfrm>
          <a:prstGeom prst="rect">
            <a:avLst/>
          </a:prstGeom>
          <a:effectLst/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AA4FF641-A175-900F-0766-9DA2A083E1D0}"/>
              </a:ext>
            </a:extLst>
          </p:cNvPr>
          <p:cNvSpPr txBox="1"/>
          <p:nvPr/>
        </p:nvSpPr>
        <p:spPr>
          <a:xfrm>
            <a:off x="8737720" y="4618458"/>
            <a:ext cx="154279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STKaiti"/>
                <a:cs typeface="+mn-cs"/>
              </a:rPr>
              <a:t>Payments Experience Transformation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9177E187-B229-86F1-032B-16E0A09A6CAF}"/>
              </a:ext>
            </a:extLst>
          </p:cNvPr>
          <p:cNvSpPr txBox="1"/>
          <p:nvPr/>
        </p:nvSpPr>
        <p:spPr>
          <a:xfrm>
            <a:off x="10380470" y="4595206"/>
            <a:ext cx="154279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STKaiti"/>
                <a:cs typeface="+mn-cs"/>
              </a:rPr>
              <a:t>Building Cloud-first Payments Solution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670D5652-273B-2058-A251-4E7511B027D0}"/>
              </a:ext>
            </a:extLst>
          </p:cNvPr>
          <p:cNvSpPr txBox="1"/>
          <p:nvPr/>
        </p:nvSpPr>
        <p:spPr>
          <a:xfrm>
            <a:off x="7032450" y="4618458"/>
            <a:ext cx="154279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STKaiti"/>
                <a:cs typeface="+mn-cs"/>
              </a:rPr>
              <a:t>Enabling seamless cross-border payments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380BEADB-F131-333A-36A2-1ACC874AFEC7}"/>
              </a:ext>
            </a:extLst>
          </p:cNvPr>
          <p:cNvSpPr txBox="1"/>
          <p:nvPr/>
        </p:nvSpPr>
        <p:spPr>
          <a:xfrm>
            <a:off x="5303603" y="4640244"/>
            <a:ext cx="167199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STKaiti"/>
                <a:cs typeface="+mn-cs"/>
              </a:rPr>
              <a:t>ISO20022 Standardization &amp; Migr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973CE9-BACA-5DE9-303A-DA7F0DD1F8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Expertise in Payments Domai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616500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1">
            <a:extLst>
              <a:ext uri="{FF2B5EF4-FFF2-40B4-BE49-F238E27FC236}">
                <a16:creationId xmlns:a16="http://schemas.microsoft.com/office/drawing/2014/main" id="{FBF4C578-B949-69C3-19FE-97552432EA06}"/>
              </a:ext>
            </a:extLst>
          </p:cNvPr>
          <p:cNvSpPr txBox="1">
            <a:spLocks/>
          </p:cNvSpPr>
          <p:nvPr/>
        </p:nvSpPr>
        <p:spPr>
          <a:xfrm>
            <a:off x="549545" y="550658"/>
            <a:ext cx="11381664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00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7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769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8C"/>
              </a:solidFill>
              <a:effectLst/>
              <a:uLnTx/>
              <a:uFillTx/>
              <a:latin typeface="Frutiger 45 bold"/>
              <a:ea typeface="STKaiti"/>
              <a:cs typeface="Calibri Light"/>
            </a:endParaRPr>
          </a:p>
          <a:p>
            <a:pPr marL="0" marR="0" lvl="0" indent="0" algn="l" defTabSz="12769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bold"/>
                <a:ea typeface="STKaiti"/>
                <a:cs typeface="Calibri Light"/>
              </a:rPr>
              <a:t>A rich heritage that amplifies </a:t>
            </a:r>
            <a:r>
              <a:rPr kumimoji="0" lang="en-IN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bold"/>
                <a:ea typeface="STKaiti"/>
                <a:cs typeface="Calibri Light"/>
              </a:rPr>
              <a:t>LTIMindtree’s</a:t>
            </a:r>
            <a:r>
              <a:rPr kumimoji="0" lang="en-IN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bold"/>
                <a:ea typeface="STKaiti"/>
                <a:cs typeface="Calibri Light"/>
              </a:rPr>
              <a:t> capabilities with an Engineering DNA</a:t>
            </a:r>
          </a:p>
        </p:txBody>
      </p:sp>
      <p:sp>
        <p:nvSpPr>
          <p:cNvPr id="75" name="Rectangle: Top Corners Rounded 74">
            <a:extLst>
              <a:ext uri="{FF2B5EF4-FFF2-40B4-BE49-F238E27FC236}">
                <a16:creationId xmlns:a16="http://schemas.microsoft.com/office/drawing/2014/main" id="{1E3131B0-F0DA-9455-ABD2-0EBEEB543204}"/>
              </a:ext>
            </a:extLst>
          </p:cNvPr>
          <p:cNvSpPr/>
          <p:nvPr/>
        </p:nvSpPr>
        <p:spPr>
          <a:xfrm rot="5400000">
            <a:off x="7804807" y="2454182"/>
            <a:ext cx="5162544" cy="2408431"/>
          </a:xfrm>
          <a:prstGeom prst="round2SameRect">
            <a:avLst>
              <a:gd name="adj1" fmla="val 2825"/>
              <a:gd name="adj2" fmla="val 0"/>
            </a:avLst>
          </a:prstGeom>
          <a:gradFill>
            <a:gsLst>
              <a:gs pos="50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45 bold"/>
              <a:ea typeface="STKaiti"/>
              <a:cs typeface="Calibri" panose="020F0502020204030204" pitchFamily="34" charset="0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22A2B7FD-9D72-65CB-61AF-AFD24EA8CC8E}"/>
              </a:ext>
            </a:extLst>
          </p:cNvPr>
          <p:cNvCxnSpPr/>
          <p:nvPr/>
        </p:nvCxnSpPr>
        <p:spPr>
          <a:xfrm>
            <a:off x="9239386" y="3305968"/>
            <a:ext cx="2293389" cy="0"/>
          </a:xfrm>
          <a:prstGeom prst="line">
            <a:avLst/>
          </a:prstGeom>
          <a:noFill/>
          <a:ln w="6350" cap="flat" cmpd="sng" algn="ctr">
            <a:solidFill>
              <a:srgbClr val="D8D8D8"/>
            </a:solidFill>
            <a:prstDash val="solid"/>
            <a:miter lim="800000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C7F176D2-3089-3A8B-D2EC-897B0E5A0DA0}"/>
              </a:ext>
            </a:extLst>
          </p:cNvPr>
          <p:cNvCxnSpPr/>
          <p:nvPr/>
        </p:nvCxnSpPr>
        <p:spPr>
          <a:xfrm>
            <a:off x="9239386" y="4006467"/>
            <a:ext cx="2293389" cy="0"/>
          </a:xfrm>
          <a:prstGeom prst="line">
            <a:avLst/>
          </a:prstGeom>
          <a:noFill/>
          <a:ln w="6350" cap="flat" cmpd="sng" algn="ctr">
            <a:solidFill>
              <a:srgbClr val="D8D8D8"/>
            </a:solidFill>
            <a:prstDash val="solid"/>
            <a:miter lim="800000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A8E91E81-E6F6-1520-4147-3960A46E7E3B}"/>
              </a:ext>
            </a:extLst>
          </p:cNvPr>
          <p:cNvCxnSpPr/>
          <p:nvPr/>
        </p:nvCxnSpPr>
        <p:spPr>
          <a:xfrm>
            <a:off x="9239386" y="4706964"/>
            <a:ext cx="2293389" cy="0"/>
          </a:xfrm>
          <a:prstGeom prst="line">
            <a:avLst/>
          </a:prstGeom>
          <a:noFill/>
          <a:ln w="6350" cap="flat" cmpd="sng" algn="ctr">
            <a:solidFill>
              <a:srgbClr val="D8D8D8"/>
            </a:solidFill>
            <a:prstDash val="solid"/>
            <a:miter lim="800000"/>
          </a:ln>
          <a:effectLst/>
        </p:spPr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8779E373-4761-BBC1-3078-E72B65C82CE4}"/>
              </a:ext>
            </a:extLst>
          </p:cNvPr>
          <p:cNvSpPr txBox="1"/>
          <p:nvPr/>
        </p:nvSpPr>
        <p:spPr>
          <a:xfrm>
            <a:off x="9342001" y="2867768"/>
            <a:ext cx="2334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Frutiger 45 bold"/>
                <a:ea typeface="STKaiti"/>
                <a:cs typeface="Calibri" panose="020F0502020204030204" pitchFamily="34" charset="0"/>
              </a:rPr>
              <a:t>80 Year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Frutiger 45 bold"/>
                <a:ea typeface="STKaiti"/>
                <a:cs typeface="Calibri" panose="020F0502020204030204" pitchFamily="34" charset="0"/>
              </a:rPr>
              <a:t>of experienc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599BC23-F773-CB72-A978-96C53369C340}"/>
              </a:ext>
            </a:extLst>
          </p:cNvPr>
          <p:cNvSpPr txBox="1"/>
          <p:nvPr/>
        </p:nvSpPr>
        <p:spPr>
          <a:xfrm>
            <a:off x="9342001" y="3538306"/>
            <a:ext cx="2334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Frutiger 45 bold"/>
                <a:ea typeface="STKaiti"/>
                <a:cs typeface="Calibri" panose="020F0502020204030204" pitchFamily="34" charset="0"/>
              </a:rPr>
              <a:t>$ 22 B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Frutiger 45 bold"/>
                <a:ea typeface="STKaiti"/>
                <a:cs typeface="Calibri" panose="020F0502020204030204" pitchFamily="34" charset="0"/>
              </a:rPr>
              <a:t>Turnove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Frutiger 45 bold"/>
                <a:ea typeface="STKaiti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FB4C2CA-9B93-D884-7B87-EE2562CCF324}"/>
              </a:ext>
            </a:extLst>
          </p:cNvPr>
          <p:cNvSpPr txBox="1"/>
          <p:nvPr/>
        </p:nvSpPr>
        <p:spPr>
          <a:xfrm>
            <a:off x="9342001" y="4185378"/>
            <a:ext cx="2334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Frutiger 45 bold"/>
                <a:ea typeface="STKaiti"/>
                <a:cs typeface="Calibri" panose="020F0502020204030204" pitchFamily="34" charset="0"/>
              </a:rPr>
              <a:t>Engineering DNA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D2A5DBF-266A-24F8-BF59-DA7A1EFBAF1D}"/>
              </a:ext>
            </a:extLst>
          </p:cNvPr>
          <p:cNvSpPr txBox="1"/>
          <p:nvPr/>
        </p:nvSpPr>
        <p:spPr>
          <a:xfrm>
            <a:off x="9342001" y="4861320"/>
            <a:ext cx="2334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EFDFD"/>
                </a:solidFill>
                <a:effectLst/>
                <a:uLnTx/>
                <a:uFillTx/>
                <a:latin typeface="Frutiger 45 bold"/>
                <a:ea typeface="STKaiti"/>
                <a:cs typeface="Calibri" panose="020F0502020204030204" pitchFamily="34" charset="0"/>
              </a:rPr>
              <a:t>Deep Domain expertise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29D523F-D387-563C-47C6-B9675758DB4A}"/>
              </a:ext>
            </a:extLst>
          </p:cNvPr>
          <p:cNvGrpSpPr/>
          <p:nvPr/>
        </p:nvGrpSpPr>
        <p:grpSpPr>
          <a:xfrm>
            <a:off x="9181866" y="5414133"/>
            <a:ext cx="2174087" cy="580499"/>
            <a:chOff x="9840112" y="4485258"/>
            <a:chExt cx="2174087" cy="580499"/>
          </a:xfrm>
        </p:grpSpPr>
        <p:sp>
          <p:nvSpPr>
            <p:cNvPr id="84" name="Rectangle: Top Corners Rounded 83">
              <a:extLst>
                <a:ext uri="{FF2B5EF4-FFF2-40B4-BE49-F238E27FC236}">
                  <a16:creationId xmlns:a16="http://schemas.microsoft.com/office/drawing/2014/main" id="{3BF86D32-F7D4-342E-35B6-2EB15027EC15}"/>
                </a:ext>
              </a:extLst>
            </p:cNvPr>
            <p:cNvSpPr/>
            <p:nvPr/>
          </p:nvSpPr>
          <p:spPr>
            <a:xfrm rot="5400000">
              <a:off x="10636906" y="3688464"/>
              <a:ext cx="580499" cy="2174087"/>
            </a:xfrm>
            <a:prstGeom prst="round2SameRect">
              <a:avLst/>
            </a:prstGeom>
            <a:solidFill>
              <a:srgbClr val="D8D8D8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bold"/>
                <a:ea typeface="STKaiti"/>
                <a:cs typeface="Calibri" panose="020F0502020204030204" pitchFamily="34" charset="0"/>
              </a:endParaRPr>
            </a:p>
          </p:txBody>
        </p:sp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BCC82952-3415-448E-DC2F-72B6466C45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21166" y="4524588"/>
              <a:ext cx="1368988" cy="501838"/>
            </a:xfrm>
            <a:prstGeom prst="rect">
              <a:avLst/>
            </a:prstGeom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165F0680-59E1-D97C-7BCC-41B0FD84B5D8}"/>
              </a:ext>
            </a:extLst>
          </p:cNvPr>
          <p:cNvGrpSpPr/>
          <p:nvPr/>
        </p:nvGrpSpPr>
        <p:grpSpPr>
          <a:xfrm>
            <a:off x="9382513" y="1222891"/>
            <a:ext cx="2007131" cy="1367140"/>
            <a:chOff x="9168683" y="1212418"/>
            <a:chExt cx="2007130" cy="1367140"/>
          </a:xfrm>
        </p:grpSpPr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1011AA3F-6ACE-D673-CD3B-E82E76A6B0D4}"/>
                </a:ext>
              </a:extLst>
            </p:cNvPr>
            <p:cNvSpPr/>
            <p:nvPr/>
          </p:nvSpPr>
          <p:spPr>
            <a:xfrm>
              <a:off x="9168683" y="1212418"/>
              <a:ext cx="2007130" cy="1367140"/>
            </a:xfrm>
            <a:prstGeom prst="roundRect">
              <a:avLst>
                <a:gd name="adj" fmla="val 5520"/>
              </a:avLst>
            </a:prstGeom>
            <a:solidFill>
              <a:srgbClr val="D8D8D8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bold"/>
                <a:ea typeface="STKaiti"/>
                <a:cs typeface="Calibri" panose="020F0502020204030204" pitchFamily="34" charset="0"/>
              </a:endParaRPr>
            </a:p>
          </p:txBody>
        </p:sp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C4D57285-9A40-39C7-D8BA-96F26F8475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300"/>
                      </a14:imgEffect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426647" y="1486518"/>
              <a:ext cx="1491202" cy="818941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2BB72D4-6AC2-E2B9-1280-9FC982F163F1}"/>
              </a:ext>
            </a:extLst>
          </p:cNvPr>
          <p:cNvGrpSpPr/>
          <p:nvPr/>
        </p:nvGrpSpPr>
        <p:grpSpPr>
          <a:xfrm>
            <a:off x="515437" y="1713958"/>
            <a:ext cx="8199907" cy="3956476"/>
            <a:chOff x="409072" y="1446190"/>
            <a:chExt cx="8026899" cy="3826134"/>
          </a:xfrm>
        </p:grpSpPr>
        <p:pic>
          <p:nvPicPr>
            <p:cNvPr id="90" name="Picture 89" descr="A large ship in a body of water&#10;&#10;Description automatically generated">
              <a:extLst>
                <a:ext uri="{FF2B5EF4-FFF2-40B4-BE49-F238E27FC236}">
                  <a16:creationId xmlns:a16="http://schemas.microsoft.com/office/drawing/2014/main" id="{3E0AC29D-1EDD-FB8B-E36F-BDFF9143F7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78867" y="1455509"/>
              <a:ext cx="1860205" cy="1097213"/>
            </a:xfrm>
            <a:prstGeom prst="roundRect">
              <a:avLst>
                <a:gd name="adj" fmla="val 6991"/>
              </a:avLst>
            </a:prstGeom>
            <a:solidFill>
              <a:srgbClr val="00008C"/>
            </a:solidFill>
            <a:ln>
              <a:noFill/>
            </a:ln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2BDE9333-4C44-E2A8-18E3-BCF0CF37C6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9072" y="1452516"/>
              <a:ext cx="1860205" cy="1103198"/>
            </a:xfrm>
            <a:prstGeom prst="roundRect">
              <a:avLst>
                <a:gd name="adj" fmla="val 6991"/>
              </a:avLst>
            </a:prstGeom>
            <a:solidFill>
              <a:srgbClr val="00008C"/>
            </a:solidFill>
            <a:ln>
              <a:noFill/>
            </a:ln>
          </p:spPr>
        </p:pic>
        <p:pic>
          <p:nvPicPr>
            <p:cNvPr id="92" name="Picture 91" descr="A large ship in a body of water&#10;&#10;Description automatically generated">
              <a:extLst>
                <a:ext uri="{FF2B5EF4-FFF2-40B4-BE49-F238E27FC236}">
                  <a16:creationId xmlns:a16="http://schemas.microsoft.com/office/drawing/2014/main" id="{501A7E4F-656C-1A03-351B-95F292298E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67706" y="1446190"/>
              <a:ext cx="1860205" cy="1101657"/>
            </a:xfrm>
            <a:prstGeom prst="roundRect">
              <a:avLst>
                <a:gd name="adj" fmla="val 6991"/>
              </a:avLst>
            </a:prstGeom>
            <a:solidFill>
              <a:srgbClr val="00008C"/>
            </a:solidFill>
            <a:ln>
              <a:noFill/>
            </a:ln>
          </p:spPr>
        </p:pic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1EBD95ED-122B-EFA5-B357-A2EC5FD14E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97911" y="1450033"/>
              <a:ext cx="1860205" cy="1108162"/>
            </a:xfrm>
            <a:prstGeom prst="roundRect">
              <a:avLst>
                <a:gd name="adj" fmla="val 6991"/>
              </a:avLst>
            </a:prstGeom>
            <a:solidFill>
              <a:srgbClr val="00008C"/>
            </a:solidFill>
            <a:ln>
              <a:noFill/>
            </a:ln>
          </p:spPr>
        </p:pic>
        <p:sp>
          <p:nvSpPr>
            <p:cNvPr id="94" name="AutoShape 2" descr="Power Generation | STANLEY® Engineered Fastening">
              <a:extLst>
                <a:ext uri="{FF2B5EF4-FFF2-40B4-BE49-F238E27FC236}">
                  <a16:creationId xmlns:a16="http://schemas.microsoft.com/office/drawing/2014/main" id="{4E7B00BE-2277-7823-D095-F333BD91E35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462262" y="3452665"/>
              <a:ext cx="296048" cy="289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bold"/>
                <a:ea typeface="ヒラギノ角ゴ Pro W3" pitchFamily="124" charset="-128"/>
                <a:cs typeface="+mn-cs"/>
              </a:endParaRPr>
            </a:p>
          </p:txBody>
        </p:sp>
        <p:pic>
          <p:nvPicPr>
            <p:cNvPr id="95" name="Picture 94" descr="A passenger train pulling into a station&#10;&#10;Description automatically generated">
              <a:extLst>
                <a:ext uri="{FF2B5EF4-FFF2-40B4-BE49-F238E27FC236}">
                  <a16:creationId xmlns:a16="http://schemas.microsoft.com/office/drawing/2014/main" id="{9528FEB8-9DCC-8EF6-90E8-9D79BD5926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569"/>
            <a:stretch/>
          </p:blipFill>
          <p:spPr>
            <a:xfrm>
              <a:off x="2478867" y="2823090"/>
              <a:ext cx="1844082" cy="1097187"/>
            </a:xfrm>
            <a:prstGeom prst="roundRect">
              <a:avLst>
                <a:gd name="adj" fmla="val 6991"/>
              </a:avLst>
            </a:prstGeom>
            <a:solidFill>
              <a:srgbClr val="00008C"/>
            </a:solidFill>
            <a:ln>
              <a:noFill/>
            </a:ln>
          </p:spPr>
        </p:pic>
        <p:sp>
          <p:nvSpPr>
            <p:cNvPr id="96" name="AutoShape 4" descr="Corrosion Basics: Steam Generation in Power Plants">
              <a:extLst>
                <a:ext uri="{FF2B5EF4-FFF2-40B4-BE49-F238E27FC236}">
                  <a16:creationId xmlns:a16="http://schemas.microsoft.com/office/drawing/2014/main" id="{CD5483E1-5401-359E-A8AD-833371D8C07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746306" y="3445707"/>
              <a:ext cx="296048" cy="289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bold"/>
                <a:ea typeface="ヒラギノ角ゴ Pro W3" pitchFamily="124" charset="-128"/>
                <a:cs typeface="+mn-cs"/>
              </a:endParaRPr>
            </a:p>
          </p:txBody>
        </p:sp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12E95E56-2D83-8649-EE31-CB5BE31B9D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0944" y="2806575"/>
              <a:ext cx="1844082" cy="1101461"/>
            </a:xfrm>
            <a:prstGeom prst="roundRect">
              <a:avLst>
                <a:gd name="adj" fmla="val 9622"/>
              </a:avLst>
            </a:prstGeom>
            <a:solidFill>
              <a:srgbClr val="00008C"/>
            </a:solidFill>
            <a:ln>
              <a:noFill/>
            </a:ln>
          </p:spPr>
        </p:pic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287721EC-026F-5136-5EE2-59F691A02830}"/>
                </a:ext>
              </a:extLst>
            </p:cNvPr>
            <p:cNvSpPr/>
            <p:nvPr/>
          </p:nvSpPr>
          <p:spPr>
            <a:xfrm>
              <a:off x="409072" y="2125811"/>
              <a:ext cx="1844082" cy="379138"/>
            </a:xfrm>
            <a:prstGeom prst="rect">
              <a:avLst/>
            </a:prstGeom>
            <a:gradFill>
              <a:gsLst>
                <a:gs pos="0">
                  <a:srgbClr val="5B1B99">
                    <a:lumMod val="40000"/>
                    <a:lumOff val="60000"/>
                  </a:srgbClr>
                </a:gs>
                <a:gs pos="46000">
                  <a:srgbClr val="5B1B99">
                    <a:lumMod val="95000"/>
                    <a:lumOff val="5000"/>
                  </a:srgbClr>
                </a:gs>
                <a:gs pos="100000">
                  <a:srgbClr val="5B1B99">
                    <a:lumMod val="60000"/>
                  </a:srgbClr>
                </a:gs>
              </a:gsLst>
              <a:path path="circle">
                <a:fillToRect l="100000" b="10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ヒラギノ角ゴ Pro W3" pitchFamily="124" charset="-128"/>
                  <a:cs typeface="+mn-cs"/>
                </a:rPr>
                <a:t>Construction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B1F91DD9-9B4D-8753-981F-917E1A319641}"/>
                </a:ext>
              </a:extLst>
            </p:cNvPr>
            <p:cNvSpPr/>
            <p:nvPr/>
          </p:nvSpPr>
          <p:spPr>
            <a:xfrm>
              <a:off x="2486928" y="2125810"/>
              <a:ext cx="1844082" cy="379138"/>
            </a:xfrm>
            <a:prstGeom prst="rect">
              <a:avLst/>
            </a:prstGeom>
            <a:gradFill>
              <a:gsLst>
                <a:gs pos="50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ヒラギノ角ゴ Pro W3" pitchFamily="124" charset="-128"/>
                  <a:cs typeface="+mn-cs"/>
                </a:rPr>
                <a:t>Hydrocarbon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986C017-BADD-FACF-E120-B1E9749DD0DD}"/>
                </a:ext>
              </a:extLst>
            </p:cNvPr>
            <p:cNvSpPr/>
            <p:nvPr/>
          </p:nvSpPr>
          <p:spPr>
            <a:xfrm>
              <a:off x="4497912" y="2125810"/>
              <a:ext cx="1860205" cy="379138"/>
            </a:xfrm>
            <a:prstGeom prst="rect">
              <a:avLst/>
            </a:prstGeom>
            <a:gradFill>
              <a:gsLst>
                <a:gs pos="0">
                  <a:srgbClr val="5B1B99">
                    <a:lumMod val="40000"/>
                    <a:lumOff val="60000"/>
                  </a:srgbClr>
                </a:gs>
                <a:gs pos="46000">
                  <a:srgbClr val="5B1B99">
                    <a:lumMod val="95000"/>
                    <a:lumOff val="5000"/>
                  </a:srgbClr>
                </a:gs>
                <a:gs pos="100000">
                  <a:srgbClr val="5B1B99">
                    <a:lumMod val="60000"/>
                  </a:srgbClr>
                </a:gs>
              </a:gsLst>
              <a:path path="circle">
                <a:fillToRect l="100000" b="10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ヒラギノ角ゴ Pro W3" pitchFamily="124" charset="-128"/>
                  <a:cs typeface="+mn-cs"/>
                </a:rPr>
                <a:t>Heavy Engineering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FB54281-864D-37DC-D778-4329F62A395A}"/>
                </a:ext>
              </a:extLst>
            </p:cNvPr>
            <p:cNvSpPr/>
            <p:nvPr/>
          </p:nvSpPr>
          <p:spPr>
            <a:xfrm>
              <a:off x="6567706" y="2105670"/>
              <a:ext cx="1844082" cy="379138"/>
            </a:xfrm>
            <a:prstGeom prst="rect">
              <a:avLst/>
            </a:prstGeom>
            <a:gradFill>
              <a:gsLst>
                <a:gs pos="50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ヒラギノ角ゴ Pro W3" pitchFamily="124" charset="-128"/>
                  <a:cs typeface="+mn-cs"/>
                </a:rPr>
                <a:t>Defense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9D4CE93C-3D95-851F-E960-6B0B2669A677}"/>
                </a:ext>
              </a:extLst>
            </p:cNvPr>
            <p:cNvSpPr/>
            <p:nvPr/>
          </p:nvSpPr>
          <p:spPr>
            <a:xfrm>
              <a:off x="414007" y="3458642"/>
              <a:ext cx="1844082" cy="379138"/>
            </a:xfrm>
            <a:prstGeom prst="rect">
              <a:avLst/>
            </a:prstGeom>
            <a:gradFill>
              <a:gsLst>
                <a:gs pos="50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ヒラギノ角ゴ Pro W3" pitchFamily="124" charset="-128"/>
                  <a:cs typeface="+mn-cs"/>
                </a:rPr>
                <a:t>Power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C6817256-21C5-2AF3-A60C-5BA2FD5A2CA6}"/>
                </a:ext>
              </a:extLst>
            </p:cNvPr>
            <p:cNvSpPr/>
            <p:nvPr/>
          </p:nvSpPr>
          <p:spPr>
            <a:xfrm>
              <a:off x="2462745" y="3450981"/>
              <a:ext cx="1844082" cy="379138"/>
            </a:xfrm>
            <a:prstGeom prst="rect">
              <a:avLst/>
            </a:prstGeom>
            <a:gradFill>
              <a:gsLst>
                <a:gs pos="0">
                  <a:srgbClr val="5B1B99">
                    <a:lumMod val="40000"/>
                    <a:lumOff val="60000"/>
                  </a:srgbClr>
                </a:gs>
                <a:gs pos="46000">
                  <a:srgbClr val="5B1B99">
                    <a:lumMod val="95000"/>
                    <a:lumOff val="5000"/>
                  </a:srgbClr>
                </a:gs>
                <a:gs pos="100000">
                  <a:srgbClr val="5B1B99">
                    <a:lumMod val="60000"/>
                  </a:srgbClr>
                </a:gs>
              </a:gsLst>
              <a:path path="circle">
                <a:fillToRect l="100000" b="10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ヒラギノ角ゴ Pro W3" pitchFamily="124" charset="-128"/>
                  <a:cs typeface="+mn-cs"/>
                </a:rPr>
                <a:t>Transportation</a:t>
              </a:r>
            </a:p>
          </p:txBody>
        </p:sp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8EA1E5A0-C8FD-E464-10A5-414177A83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2460" y="4163691"/>
              <a:ext cx="1860205" cy="1097213"/>
            </a:xfrm>
            <a:prstGeom prst="roundRect">
              <a:avLst>
                <a:gd name="adj" fmla="val 7300"/>
              </a:avLst>
            </a:prstGeom>
            <a:solidFill>
              <a:srgbClr val="00008C"/>
            </a:solidFill>
            <a:ln>
              <a:noFill/>
            </a:ln>
          </p:spPr>
        </p:pic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A18C1304-BA78-4993-CC20-D4B2B45A9A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27605" y="2843389"/>
              <a:ext cx="1820596" cy="1083237"/>
            </a:xfrm>
            <a:prstGeom prst="roundRect">
              <a:avLst>
                <a:gd name="adj" fmla="val 5681"/>
              </a:avLst>
            </a:prstGeom>
            <a:solidFill>
              <a:srgbClr val="00008C"/>
            </a:solidFill>
            <a:ln>
              <a:noFill/>
            </a:ln>
          </p:spPr>
        </p:pic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EB9CE06F-5185-446F-1AE7-599998D367D6}"/>
                </a:ext>
              </a:extLst>
            </p:cNvPr>
            <p:cNvSpPr/>
            <p:nvPr/>
          </p:nvSpPr>
          <p:spPr>
            <a:xfrm>
              <a:off x="4527606" y="3432413"/>
              <a:ext cx="1830510" cy="379138"/>
            </a:xfrm>
            <a:prstGeom prst="rect">
              <a:avLst/>
            </a:prstGeom>
            <a:gradFill>
              <a:gsLst>
                <a:gs pos="50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ヒラギノ角ゴ Pro W3" pitchFamily="124" charset="-128"/>
                  <a:cs typeface="+mn-cs"/>
                </a:rPr>
                <a:t>Equipment Mfg.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FCC2C8FD-D671-119F-B907-D55B762A36F1}"/>
                </a:ext>
              </a:extLst>
            </p:cNvPr>
            <p:cNvSpPr/>
            <p:nvPr/>
          </p:nvSpPr>
          <p:spPr>
            <a:xfrm>
              <a:off x="472154" y="4811213"/>
              <a:ext cx="1830510" cy="379138"/>
            </a:xfrm>
            <a:prstGeom prst="rect">
              <a:avLst/>
            </a:prstGeom>
            <a:gradFill>
              <a:gsLst>
                <a:gs pos="0">
                  <a:srgbClr val="5B1B99">
                    <a:lumMod val="40000"/>
                    <a:lumOff val="60000"/>
                  </a:srgbClr>
                </a:gs>
                <a:gs pos="46000">
                  <a:srgbClr val="5B1B99">
                    <a:lumMod val="95000"/>
                    <a:lumOff val="5000"/>
                  </a:srgbClr>
                </a:gs>
                <a:gs pos="100000">
                  <a:srgbClr val="5B1B99">
                    <a:lumMod val="60000"/>
                  </a:srgbClr>
                </a:gs>
              </a:gsLst>
              <a:path path="circle">
                <a:fillToRect l="100000" b="10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ヒラギノ角ゴ Pro W3" pitchFamily="124" charset="-128"/>
                  <a:cs typeface="+mn-cs"/>
                </a:rPr>
                <a:t>Financial Services</a:t>
              </a:r>
            </a:p>
          </p:txBody>
        </p:sp>
        <p:pic>
          <p:nvPicPr>
            <p:cNvPr id="108" name="Picture 6" descr="Rejuve 360: 2 &amp; 3 BHK Flats in Mulund Mumbai – L&amp;T Realty">
              <a:extLst>
                <a:ext uri="{FF2B5EF4-FFF2-40B4-BE49-F238E27FC236}">
                  <a16:creationId xmlns:a16="http://schemas.microsoft.com/office/drawing/2014/main" id="{5D4AD3C9-3253-7853-B3E4-253E6FD86BA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583828" y="4146947"/>
              <a:ext cx="1844082" cy="1097213"/>
            </a:xfrm>
            <a:prstGeom prst="roundRect">
              <a:avLst>
                <a:gd name="adj" fmla="val 8586"/>
              </a:avLst>
            </a:prstGeom>
            <a:solidFill>
              <a:srgbClr val="00008C"/>
            </a:solidFill>
            <a:ln>
              <a:noFill/>
            </a:ln>
          </p:spPr>
        </p:pic>
        <p:pic>
          <p:nvPicPr>
            <p:cNvPr id="110" name="Picture 8" descr="Information Technology">
              <a:extLst>
                <a:ext uri="{FF2B5EF4-FFF2-40B4-BE49-F238E27FC236}">
                  <a16:creationId xmlns:a16="http://schemas.microsoft.com/office/drawing/2014/main" id="{180F9A0A-AE3A-E0C1-19CC-2C54D86D59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78867" y="4172701"/>
              <a:ext cx="1827960" cy="1088203"/>
            </a:xfrm>
            <a:prstGeom prst="roundRect">
              <a:avLst>
                <a:gd name="adj" fmla="val 6173"/>
              </a:avLst>
            </a:prstGeom>
            <a:solidFill>
              <a:srgbClr val="00008C"/>
            </a:solidFill>
            <a:ln>
              <a:noFill/>
            </a:ln>
          </p:spPr>
        </p:pic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714D72BF-CECC-15A3-F4C8-5FBC46153D1A}"/>
                </a:ext>
              </a:extLst>
            </p:cNvPr>
            <p:cNvSpPr/>
            <p:nvPr/>
          </p:nvSpPr>
          <p:spPr>
            <a:xfrm>
              <a:off x="2469531" y="4803579"/>
              <a:ext cx="1830510" cy="379138"/>
            </a:xfrm>
            <a:prstGeom prst="rect">
              <a:avLst/>
            </a:prstGeom>
            <a:gradFill>
              <a:gsLst>
                <a:gs pos="50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ヒラギノ角ゴ Pro W3" pitchFamily="124" charset="-128"/>
                  <a:cs typeface="+mn-cs"/>
                </a:rPr>
                <a:t>Information Technology</a:t>
              </a:r>
            </a:p>
          </p:txBody>
        </p:sp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0924E9A8-13C1-BDEE-5937-CBD710C7BF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/>
            <a:stretch/>
          </p:blipFill>
          <p:spPr>
            <a:xfrm>
              <a:off x="4560993" y="4164217"/>
              <a:ext cx="1797346" cy="1108107"/>
            </a:xfrm>
            <a:prstGeom prst="roundRect">
              <a:avLst>
                <a:gd name="adj" fmla="val 6361"/>
              </a:avLst>
            </a:prstGeom>
            <a:solidFill>
              <a:srgbClr val="00008C"/>
            </a:solidFill>
            <a:ln>
              <a:noFill/>
            </a:ln>
          </p:spPr>
        </p:pic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C9D56093-0AB2-EB65-D267-55CD99BFE2F0}"/>
                </a:ext>
              </a:extLst>
            </p:cNvPr>
            <p:cNvSpPr/>
            <p:nvPr/>
          </p:nvSpPr>
          <p:spPr>
            <a:xfrm>
              <a:off x="4560993" y="4791291"/>
              <a:ext cx="1797122" cy="379138"/>
            </a:xfrm>
            <a:prstGeom prst="rect">
              <a:avLst/>
            </a:prstGeom>
            <a:gradFill>
              <a:gsLst>
                <a:gs pos="0">
                  <a:srgbClr val="5B1B99">
                    <a:lumMod val="40000"/>
                    <a:lumOff val="60000"/>
                  </a:srgbClr>
                </a:gs>
                <a:gs pos="46000">
                  <a:srgbClr val="5B1B99">
                    <a:lumMod val="95000"/>
                    <a:lumOff val="5000"/>
                  </a:srgbClr>
                </a:gs>
                <a:gs pos="100000">
                  <a:srgbClr val="5B1B99">
                    <a:lumMod val="60000"/>
                  </a:srgbClr>
                </a:gs>
              </a:gsLst>
              <a:path path="circle">
                <a:fillToRect l="100000" b="10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ヒラギノ角ゴ Pro W3" pitchFamily="124" charset="-128"/>
                  <a:cs typeface="+mn-cs"/>
                </a:rPr>
                <a:t>Edu Tech</a:t>
              </a:r>
            </a:p>
          </p:txBody>
        </p:sp>
        <p:pic>
          <p:nvPicPr>
            <p:cNvPr id="114" name="Picture 113" descr="A factory with smoke coming out of it&#10;&#10;Description automatically generated">
              <a:extLst>
                <a:ext uri="{FF2B5EF4-FFF2-40B4-BE49-F238E27FC236}">
                  <a16:creationId xmlns:a16="http://schemas.microsoft.com/office/drawing/2014/main" id="{0F2C26EC-AD90-FB9F-9689-3B96B246EE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5"/>
            <a:stretch/>
          </p:blipFill>
          <p:spPr>
            <a:xfrm>
              <a:off x="6575766" y="2806378"/>
              <a:ext cx="1860205" cy="1101657"/>
            </a:xfrm>
            <a:prstGeom prst="roundRect">
              <a:avLst>
                <a:gd name="adj" fmla="val 6991"/>
              </a:avLst>
            </a:prstGeom>
            <a:solidFill>
              <a:srgbClr val="00008C"/>
            </a:solidFill>
            <a:ln>
              <a:noFill/>
            </a:ln>
          </p:spPr>
        </p:pic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15E3992F-B28D-59F0-DEEA-1134807B68CD}"/>
                </a:ext>
              </a:extLst>
            </p:cNvPr>
            <p:cNvSpPr/>
            <p:nvPr/>
          </p:nvSpPr>
          <p:spPr>
            <a:xfrm>
              <a:off x="6572133" y="3445707"/>
              <a:ext cx="1855777" cy="379138"/>
            </a:xfrm>
            <a:prstGeom prst="rect">
              <a:avLst/>
            </a:prstGeom>
            <a:gradFill>
              <a:gsLst>
                <a:gs pos="0">
                  <a:srgbClr val="5B1B99">
                    <a:lumMod val="40000"/>
                    <a:lumOff val="60000"/>
                  </a:srgbClr>
                </a:gs>
                <a:gs pos="46000">
                  <a:srgbClr val="5B1B99">
                    <a:lumMod val="95000"/>
                    <a:lumOff val="5000"/>
                  </a:srgbClr>
                </a:gs>
                <a:gs pos="100000">
                  <a:srgbClr val="5B1B99">
                    <a:lumMod val="60000"/>
                  </a:srgbClr>
                </a:gs>
              </a:gsLst>
              <a:path path="circle">
                <a:fillToRect l="100000" b="10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ヒラギノ角ゴ Pro W3" pitchFamily="124" charset="-128"/>
                  <a:cs typeface="+mn-cs"/>
                </a:rPr>
                <a:t>Minerals &amp; Metals</a:t>
              </a:r>
            </a:p>
          </p:txBody>
        </p:sp>
      </p:grp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34197751-A367-507D-5417-84DE9363679F}"/>
              </a:ext>
            </a:extLst>
          </p:cNvPr>
          <p:cNvCxnSpPr/>
          <p:nvPr/>
        </p:nvCxnSpPr>
        <p:spPr>
          <a:xfrm>
            <a:off x="549546" y="1373936"/>
            <a:ext cx="8262015" cy="0"/>
          </a:xfrm>
          <a:prstGeom prst="line">
            <a:avLst/>
          </a:prstGeom>
          <a:noFill/>
          <a:ln w="6350" cap="flat" cmpd="sng" algn="ctr">
            <a:solidFill>
              <a:srgbClr val="066DCA"/>
            </a:solidFill>
            <a:prstDash val="solid"/>
            <a:miter lim="800000"/>
          </a:ln>
          <a:effectLst/>
        </p:spPr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4F0822FF-D3E3-4C5C-D2E9-374B88D7F1CD}"/>
              </a:ext>
            </a:extLst>
          </p:cNvPr>
          <p:cNvSpPr txBox="1"/>
          <p:nvPr/>
        </p:nvSpPr>
        <p:spPr>
          <a:xfrm>
            <a:off x="2201585" y="1232880"/>
            <a:ext cx="4817271" cy="297454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bold"/>
                <a:ea typeface="Source Sans Pro" panose="020B0503030403020204" pitchFamily="34" charset="0"/>
                <a:cs typeface="+mn-cs"/>
              </a:rPr>
              <a:t>L&amp;T is a leader in most industry segments that it operates…</a:t>
            </a: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32E43A58-B3E2-8EF7-4F79-16B385F899C8}"/>
              </a:ext>
            </a:extLst>
          </p:cNvPr>
          <p:cNvCxnSpPr/>
          <p:nvPr/>
        </p:nvCxnSpPr>
        <p:spPr>
          <a:xfrm>
            <a:off x="561395" y="5955301"/>
            <a:ext cx="8262015" cy="0"/>
          </a:xfrm>
          <a:prstGeom prst="line">
            <a:avLst/>
          </a:prstGeom>
          <a:noFill/>
          <a:ln w="6350" cap="flat" cmpd="sng" algn="ctr">
            <a:solidFill>
              <a:srgbClr val="066DCA"/>
            </a:solidFill>
            <a:prstDash val="solid"/>
            <a:miter lim="800000"/>
          </a:ln>
          <a:effectLst/>
        </p:spPr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0AF0317B-04D5-119A-8EB1-B5789F4449B7}"/>
              </a:ext>
            </a:extLst>
          </p:cNvPr>
          <p:cNvSpPr txBox="1"/>
          <p:nvPr/>
        </p:nvSpPr>
        <p:spPr>
          <a:xfrm>
            <a:off x="2201585" y="5799937"/>
            <a:ext cx="4817271" cy="297454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Frutiger 45 bold"/>
                <a:ea typeface="ヒラギノ角ゴ Pro W3" pitchFamily="124" charset="-128"/>
                <a:cs typeface="+mn-cs"/>
              </a:rPr>
              <a:t>..by fostering a culture of excellence and innov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6D6C155-6721-42A0-78D4-0BDA0CAD342C}"/>
              </a:ext>
            </a:extLst>
          </p:cNvPr>
          <p:cNvSpPr/>
          <p:nvPr/>
        </p:nvSpPr>
        <p:spPr>
          <a:xfrm>
            <a:off x="6830213" y="5141345"/>
            <a:ext cx="1869964" cy="392054"/>
          </a:xfrm>
          <a:prstGeom prst="rect">
            <a:avLst/>
          </a:prstGeom>
          <a:gradFill>
            <a:gsLst>
              <a:gs pos="50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bold"/>
                <a:ea typeface="ヒラギノ角ゴ Pro W3" pitchFamily="124" charset="-128"/>
                <a:cs typeface="+mn-cs"/>
              </a:rPr>
              <a:t>Real Esta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80F862D-678A-DB77-F360-1DF31DFB3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LTIMindtree</a:t>
            </a:r>
            <a:r>
              <a:rPr lang="en-GB" dirty="0"/>
              <a:t> is a part of Larsen &amp; Toubro (L&amp;T) group, a $22B engineering conglomerat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53377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AD717-8F6F-7666-4D0C-50215DA4F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F93C1-C194-D50E-8229-03621BE90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27" y="171155"/>
            <a:ext cx="11338560" cy="457200"/>
          </a:xfrm>
        </p:spPr>
        <p:txBody>
          <a:bodyPr>
            <a:noAutofit/>
          </a:bodyPr>
          <a:lstStyle/>
          <a:p>
            <a:r>
              <a:rPr lang="en-US" dirty="0"/>
              <a:t>We are partnering with our clients for getting to the future, faster. Together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3BC5F0-DB5B-6752-5BD1-F0848EC8CFC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0" y="2652798"/>
            <a:ext cx="12216323" cy="31449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400" b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lvl="1" defTabSz="1219140" fontAlgn="base">
              <a:spcBef>
                <a:spcPts val="20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…supporting clients to operate, transform and innovate from core to experience</a:t>
            </a:r>
          </a:p>
        </p:txBody>
      </p:sp>
      <p:pic>
        <p:nvPicPr>
          <p:cNvPr id="48" name="Picture772663">
            <a:extLst>
              <a:ext uri="{FF2B5EF4-FFF2-40B4-BE49-F238E27FC236}">
                <a16:creationId xmlns:a16="http://schemas.microsoft.com/office/drawing/2014/main" id="{98D0A5F2-2A9C-9A79-6895-BD34C877574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0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" y="1026111"/>
            <a:ext cx="12191999" cy="164090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808C0F9-1816-DA8C-4ACA-1FFA942ADD72}"/>
              </a:ext>
            </a:extLst>
          </p:cNvPr>
          <p:cNvGrpSpPr/>
          <p:nvPr/>
        </p:nvGrpSpPr>
        <p:grpSpPr>
          <a:xfrm>
            <a:off x="3661895" y="1495227"/>
            <a:ext cx="1530000" cy="894604"/>
            <a:chOff x="2836757" y="1686616"/>
            <a:chExt cx="1595983" cy="89460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5B096E0-4390-19C7-8D32-7DF48B919A6C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auto">
            <a:xfrm>
              <a:off x="2836757" y="1686616"/>
              <a:ext cx="1529195" cy="894604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228600" dir="2700000" sx="90000" sy="90000" algn="ctr">
                <a:srgbClr val="000000">
                  <a:alpha val="14000"/>
                </a:srgbClr>
              </a:outerShdw>
            </a:effectLst>
          </p:spPr>
          <p:txBody>
            <a:bodyPr vert="horz" wrap="none" lIns="68580" tIns="34291" rIns="68580" bIns="34291" numCol="1" rtlCol="0" anchor="ctr" anchorCtr="0" compatLnSpc="1">
              <a:prstTxWarp prst="textNoShape">
                <a:avLst/>
              </a:prstTxWarp>
            </a:bodyPr>
            <a:lstStyle/>
            <a:p>
              <a:pPr marL="177796" marR="0" lvl="0" indent="-177796" algn="l" defTabSz="685783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IN" sz="1050" b="0" i="0" u="none" strike="noStrike" kern="0" cap="none" spc="0" normalizeH="0" baseline="0" noProof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Segoe UI" panose="020B0502040204020203" pitchFamily="34" charset="0"/>
                <a:ea typeface="STKaiti"/>
                <a:cs typeface="Segoe UI" panose="020B0502040204020203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1B60C61-40B8-773E-DCFF-7E7E8FFB69A7}"/>
                </a:ext>
              </a:extLst>
            </p:cNvPr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2836789" y="1743368"/>
              <a:ext cx="1595951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249A"/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$1.6B+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6E4E33E-9C7A-1A89-D15C-0ADFA2C35FF4}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2889189" y="2246958"/>
              <a:ext cx="1491151" cy="2419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BFSI Revenue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EEAA8C9-9DBE-0738-1D1F-CC2E2893D45C}"/>
              </a:ext>
            </a:extLst>
          </p:cNvPr>
          <p:cNvGrpSpPr/>
          <p:nvPr/>
        </p:nvGrpSpPr>
        <p:grpSpPr>
          <a:xfrm>
            <a:off x="5376156" y="1495227"/>
            <a:ext cx="1530000" cy="894604"/>
            <a:chOff x="4692729" y="1686616"/>
            <a:chExt cx="1595951" cy="89460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9024C7CE-08A6-D82A-6843-21BA2D53DEB7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auto">
            <a:xfrm>
              <a:off x="4717638" y="1686616"/>
              <a:ext cx="1529195" cy="894604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228600" dir="2700000" sx="90000" sy="90000" algn="ctr">
                <a:srgbClr val="000000">
                  <a:alpha val="14000"/>
                </a:srgbClr>
              </a:outerShdw>
            </a:effectLst>
          </p:spPr>
          <p:txBody>
            <a:bodyPr vert="horz" wrap="none" lIns="68580" tIns="34291" rIns="68580" bIns="34291" numCol="1" rtlCol="0" anchor="ctr" anchorCtr="0" compatLnSpc="1">
              <a:prstTxWarp prst="textNoShape">
                <a:avLst/>
              </a:prstTxWarp>
            </a:bodyPr>
            <a:lstStyle/>
            <a:p>
              <a:pPr marL="177796" marR="0" lvl="0" indent="-177796" algn="l" defTabSz="685783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IN" sz="1050" b="0" i="0" u="none" strike="noStrike" kern="0" cap="none" spc="0" normalizeH="0" baseline="0" noProof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Segoe UI" panose="020B0502040204020203" pitchFamily="34" charset="0"/>
                <a:ea typeface="STKaiti"/>
                <a:cs typeface="Segoe UI" panose="020B0502040204020203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8F8F3BA-EEAC-D1CF-6204-246BF5067252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4692729" y="1743368"/>
              <a:ext cx="1595951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249A"/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170+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70A6684-BCA0-C8E2-9ED2-58E00C2BBE03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4745129" y="2246958"/>
              <a:ext cx="1491151" cy="2419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BFSI Client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3D29AB5-D0A6-8B1B-E20A-4576471DD5D1}"/>
              </a:ext>
            </a:extLst>
          </p:cNvPr>
          <p:cNvGrpSpPr/>
          <p:nvPr/>
        </p:nvGrpSpPr>
        <p:grpSpPr>
          <a:xfrm>
            <a:off x="7090417" y="1495227"/>
            <a:ext cx="1529196" cy="894604"/>
            <a:chOff x="6498062" y="1686616"/>
            <a:chExt cx="1682115" cy="894604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FAF1F98-C37D-1BF9-9957-F177CED824E5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auto">
            <a:xfrm>
              <a:off x="6598518" y="1686616"/>
              <a:ext cx="1529195" cy="894604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228600" dir="2700000" sx="90000" sy="90000" algn="ctr">
                <a:srgbClr val="000000">
                  <a:alpha val="14000"/>
                </a:srgbClr>
              </a:outerShdw>
            </a:effectLst>
          </p:spPr>
          <p:txBody>
            <a:bodyPr vert="horz" wrap="none" lIns="68580" tIns="34291" rIns="68580" bIns="34291" numCol="1" rtlCol="0" anchor="ctr" anchorCtr="0" compatLnSpc="1">
              <a:prstTxWarp prst="textNoShape">
                <a:avLst/>
              </a:prstTxWarp>
            </a:bodyPr>
            <a:lstStyle/>
            <a:p>
              <a:pPr marL="177796" marR="0" lvl="0" indent="-177796" algn="l" defTabSz="685783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IN" sz="1050" b="0" i="0" u="none" strike="noStrike" kern="0" cap="none" spc="0" normalizeH="0" baseline="0" noProof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Segoe UI" panose="020B0502040204020203" pitchFamily="34" charset="0"/>
                <a:ea typeface="STKaiti"/>
                <a:cs typeface="Segoe UI" panose="020B0502040204020203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B051843-8223-414E-486D-03D888662A74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6561936" y="1743368"/>
              <a:ext cx="1595951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249A"/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25,000+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64FE99A-D77D-5188-E39F-A3A3D3F59237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 bwMode="gray">
            <a:xfrm>
              <a:off x="6498062" y="2246847"/>
              <a:ext cx="1682115" cy="241980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BFSI Associate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6EE8379-0BC0-E626-FB2A-2740771EDF0A}"/>
              </a:ext>
            </a:extLst>
          </p:cNvPr>
          <p:cNvGrpSpPr/>
          <p:nvPr/>
        </p:nvGrpSpPr>
        <p:grpSpPr>
          <a:xfrm>
            <a:off x="8803874" y="1495227"/>
            <a:ext cx="1530000" cy="894604"/>
            <a:chOff x="8598816" y="1686616"/>
            <a:chExt cx="1595951" cy="894604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95C2B0F-99B0-6D57-4868-4F96004BA0DF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auto">
            <a:xfrm>
              <a:off x="8607107" y="1686616"/>
              <a:ext cx="1529195" cy="894604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228600" dir="2700000" sx="90000" sy="90000" algn="ctr">
                <a:srgbClr val="000000">
                  <a:alpha val="14000"/>
                </a:srgbClr>
              </a:outerShdw>
            </a:effectLst>
          </p:spPr>
          <p:txBody>
            <a:bodyPr vert="horz" wrap="none" lIns="68580" tIns="34291" rIns="68580" bIns="34291" numCol="1" rtlCol="0" anchor="ctr" anchorCtr="0" compatLnSpc="1">
              <a:prstTxWarp prst="textNoShape">
                <a:avLst/>
              </a:prstTxWarp>
            </a:bodyPr>
            <a:lstStyle/>
            <a:p>
              <a:pPr marL="177796" marR="0" lvl="0" indent="-177796" algn="l" defTabSz="685783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IN" sz="1050" b="0" i="0" u="none" strike="noStrike" kern="0" cap="none" spc="0" normalizeH="0" baseline="0" noProof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Segoe UI" panose="020B0502040204020203" pitchFamily="34" charset="0"/>
                <a:ea typeface="STKaiti"/>
                <a:cs typeface="Segoe UI" panose="020B0502040204020203" pitchFamily="34" charset="0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60BA2056-A610-3F21-70D7-C70E4B6604C6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8598816" y="1743368"/>
              <a:ext cx="1595951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249A"/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20%+ 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20CB877-4735-6BAA-9858-E93CD23F5E8E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 bwMode="gray">
            <a:xfrm>
              <a:off x="8645120" y="2246958"/>
              <a:ext cx="1491151" cy="2419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5yr. CAGR</a:t>
              </a: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FC8A02DA-78E1-75F8-BD54-648A9938C5B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0" y="798401"/>
            <a:ext cx="12216323" cy="31449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400" b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lvl="1" defTabSz="1219140" fontAlgn="base">
              <a:spcBef>
                <a:spcPts val="20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 are a scale disruptor…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836080A-628F-3A19-EE54-9B165AF9F172}"/>
              </a:ext>
            </a:extLst>
          </p:cNvPr>
          <p:cNvGrpSpPr/>
          <p:nvPr/>
        </p:nvGrpSpPr>
        <p:grpSpPr>
          <a:xfrm>
            <a:off x="234177" y="1495227"/>
            <a:ext cx="1530000" cy="894604"/>
            <a:chOff x="6305386" y="1686616"/>
            <a:chExt cx="1595951" cy="89460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F03467B7-856D-5305-B91D-A97874A02ED4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auto">
            <a:xfrm>
              <a:off x="6326807" y="1686616"/>
              <a:ext cx="1529195" cy="894604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228600" dir="2700000" sx="90000" sy="90000" algn="ctr">
                <a:srgbClr val="000000">
                  <a:alpha val="14000"/>
                </a:srgbClr>
              </a:outerShdw>
            </a:effectLst>
          </p:spPr>
          <p:txBody>
            <a:bodyPr vert="horz" wrap="none" lIns="68580" tIns="34291" rIns="68580" bIns="34291" numCol="1" rtlCol="0" anchor="ctr" anchorCtr="0" compatLnSpc="1">
              <a:prstTxWarp prst="textNoShape">
                <a:avLst/>
              </a:prstTxWarp>
            </a:bodyPr>
            <a:lstStyle/>
            <a:p>
              <a:pPr marL="177796" marR="0" lvl="0" indent="-177796" algn="l" defTabSz="685783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IN" sz="1050" b="0" i="0" u="none" strike="noStrike" kern="0" cap="none" spc="0" normalizeH="0" baseline="0" noProof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Segoe UI" panose="020B0502040204020203" pitchFamily="34" charset="0"/>
                <a:ea typeface="STKaiti"/>
                <a:cs typeface="Segoe UI" panose="020B0502040204020203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0248110E-3CCD-1B61-F472-CF388C2DA510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6305386" y="1743368"/>
              <a:ext cx="1595951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249A"/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$4.3+ Bn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64B58A4-C464-AA24-34D7-443421FF5221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6357786" y="2246958"/>
              <a:ext cx="1491151" cy="2419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LTIM Revenu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109BD0E-C873-9A34-2243-5C8DEF9AF60A}"/>
              </a:ext>
            </a:extLst>
          </p:cNvPr>
          <p:cNvGrpSpPr/>
          <p:nvPr/>
        </p:nvGrpSpPr>
        <p:grpSpPr>
          <a:xfrm>
            <a:off x="10518135" y="1474476"/>
            <a:ext cx="1530000" cy="894604"/>
            <a:chOff x="10498260" y="1686616"/>
            <a:chExt cx="1595951" cy="89460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D9515E49-64C6-8EA5-7174-5308DD1E4A6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auto">
            <a:xfrm>
              <a:off x="10521802" y="1686616"/>
              <a:ext cx="1529195" cy="894604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228600" dir="2700000" sx="90000" sy="90000" algn="ctr">
                <a:srgbClr val="000000">
                  <a:alpha val="14000"/>
                </a:srgbClr>
              </a:outerShdw>
            </a:effectLst>
          </p:spPr>
          <p:txBody>
            <a:bodyPr vert="horz" wrap="none" lIns="68580" tIns="34291" rIns="68580" bIns="34291" numCol="1" rtlCol="0" anchor="ctr" anchorCtr="0" compatLnSpc="1">
              <a:prstTxWarp prst="textNoShape">
                <a:avLst/>
              </a:prstTxWarp>
            </a:bodyPr>
            <a:lstStyle/>
            <a:p>
              <a:pPr marL="177796" marR="0" lvl="0" indent="-177796" algn="l" defTabSz="685783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IN" sz="1050" b="0" i="0" u="none" strike="noStrike" kern="0" cap="none" spc="0" normalizeH="0" baseline="0" noProof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Segoe UI" panose="020B0502040204020203" pitchFamily="34" charset="0"/>
                <a:ea typeface="STKaiti"/>
                <a:cs typeface="Segoe UI" panose="020B0502040204020203" pitchFamily="34" charset="0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D26545D0-A466-0379-00BA-D25E739D5A9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0683167" y="1748020"/>
              <a:ext cx="111552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249A"/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50%+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626775E0-2546-E1CC-B60A-3BDFF271D37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10498260" y="2240118"/>
              <a:ext cx="1595951" cy="2419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GSIBs are clients</a:t>
              </a:r>
            </a:p>
          </p:txBody>
        </p:sp>
      </p:grpSp>
      <p:sp>
        <p:nvSpPr>
          <p:cNvPr id="69" name="Rectangle 68">
            <a:extLst>
              <a:ext uri="{FF2B5EF4-FFF2-40B4-BE49-F238E27FC236}">
                <a16:creationId xmlns:a16="http://schemas.microsoft.com/office/drawing/2014/main" id="{35541145-6D1C-AD4B-3450-1060B8B8732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54336" y="3544478"/>
            <a:ext cx="2088772" cy="614793"/>
          </a:xfrm>
          <a:prstGeom prst="rect">
            <a:avLst/>
          </a:prstGeom>
          <a:noFill/>
          <a:ln w="1270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8CE"/>
                </a:solidFill>
              </a14:hiddenFill>
            </a:ext>
          </a:extLst>
        </p:spPr>
        <p:txBody>
          <a:bodyPr lIns="0" tIns="0" rIns="0" bIns="0" rtlCol="0" anchor="ctr"/>
          <a:lstStyle/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Core banking platform</a:t>
            </a:r>
          </a:p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(BaaS | Core systems modernization)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20842C1-FBC6-92EE-8EE4-DAB5FCBCBA1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818239" y="3544478"/>
            <a:ext cx="2089001" cy="614793"/>
          </a:xfrm>
          <a:prstGeom prst="rect">
            <a:avLst/>
          </a:prstGeom>
          <a:noFill/>
          <a:ln w="1270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8CE"/>
                </a:solidFill>
              </a14:hiddenFill>
            </a:ext>
          </a:extLst>
        </p:spPr>
        <p:txBody>
          <a:bodyPr lIns="91440" tIns="0" rIns="91440" bIns="0" rtlCol="0" anchor="ctr"/>
          <a:lstStyle/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GRC</a:t>
            </a:r>
          </a:p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(Reg reporting, compliance, risk management) 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BC7DC1E-D447-B29F-3D36-9CACD02B00B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54336" y="4277943"/>
            <a:ext cx="2088772" cy="614793"/>
          </a:xfrm>
          <a:prstGeom prst="rect">
            <a:avLst/>
          </a:prstGeom>
          <a:noFill/>
          <a:ln w="1270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8CE"/>
                </a:solidFill>
              </a14:hiddenFill>
            </a:ext>
          </a:extLst>
        </p:spPr>
        <p:txBody>
          <a:bodyPr lIns="0" tIns="0" rIns="0" bIns="0" rtlCol="0" anchor="ctr"/>
          <a:lstStyle/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Data Driven Transformation</a:t>
            </a:r>
          </a:p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Data | Decisions | Monetization | AI ML Ops | AML Solution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383D2E4-3C35-CAA4-4F75-EB72343912D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818239" y="4277943"/>
            <a:ext cx="2117806" cy="614793"/>
          </a:xfrm>
          <a:prstGeom prst="rect">
            <a:avLst/>
          </a:prstGeom>
          <a:noFill/>
          <a:ln w="1270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8CE"/>
                </a:solidFill>
              </a14:hiddenFill>
            </a:ext>
          </a:extLst>
        </p:spPr>
        <p:txBody>
          <a:bodyPr lIns="91440" tIns="0" rIns="91440" bIns="0" rtlCol="0" anchor="ctr"/>
          <a:lstStyle/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API &amp; Fintech enablement</a:t>
            </a:r>
          </a:p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(Open banking | Partnerships)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5BC38E9-9F62-8CA6-A8ED-FFC3C44AFE6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554337" y="3126069"/>
            <a:ext cx="4352904" cy="314492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re business functions (back office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E149AD3-7770-D65B-07C1-AA634E68935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326634" y="3489441"/>
            <a:ext cx="2088881" cy="641018"/>
          </a:xfrm>
          <a:prstGeom prst="rect">
            <a:avLst/>
          </a:prstGeom>
          <a:noFill/>
          <a:ln w="1270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8CE"/>
                </a:solidFill>
              </a14:hiddenFill>
            </a:ext>
          </a:extLst>
        </p:spPr>
        <p:txBody>
          <a:bodyPr lIns="91440" tIns="0" rIns="91440" bIns="0" rtlCol="0" anchor="ctr"/>
          <a:lstStyle/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Experience Transformation</a:t>
            </a:r>
          </a:p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(Customer &amp; User Experience)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B61CA1FA-E3BB-E638-959A-EF578369676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590657" y="3489441"/>
            <a:ext cx="2088880" cy="641018"/>
          </a:xfrm>
          <a:prstGeom prst="rect">
            <a:avLst/>
          </a:prstGeom>
          <a:noFill/>
          <a:ln w="1270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8CE"/>
                </a:solidFill>
              </a14:hiddenFill>
            </a:ext>
          </a:extLst>
        </p:spPr>
        <p:txBody>
          <a:bodyPr lIns="91440" tIns="0" rIns="91440" bIns="0" rtlCol="0" anchor="ctr"/>
          <a:lstStyle/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Customer Engagement </a:t>
            </a:r>
          </a:p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(Digital Marketing | Commerce)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1433725-E3EA-7216-FB47-6635933BC49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297830" y="4247785"/>
            <a:ext cx="4381707" cy="641018"/>
          </a:xfrm>
          <a:prstGeom prst="rect">
            <a:avLst/>
          </a:prstGeom>
          <a:noFill/>
          <a:ln w="1270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8CE"/>
                </a:solidFill>
              </a14:hiddenFill>
            </a:ext>
          </a:extLst>
        </p:spPr>
        <p:txBody>
          <a:bodyPr lIns="91440" tIns="0" rIns="91440" bIns="0" rtlCol="0" anchor="ctr"/>
          <a:lstStyle/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Digital product engineering</a:t>
            </a:r>
          </a:p>
          <a:p>
            <a:pPr marL="0" marR="0" lvl="0" indent="0" algn="ctr" defTabSz="914286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(Agile, Dev-Ops &amp; Product-oriented Models)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A77596E-52C2-64AE-7EA6-C28E97D1DC3B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7326632" y="3088618"/>
            <a:ext cx="4352905" cy="314492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er-centric functions (front office)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9C90E712-2CFA-E06C-40A3-780AABFA8546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5262660" y="3149706"/>
            <a:ext cx="1737360" cy="1737360"/>
            <a:chOff x="5151956" y="4424026"/>
            <a:chExt cx="2023402" cy="2010832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493C7D2A-8882-7A3B-93DC-0BCEFD8AB27D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151956" y="4424026"/>
              <a:ext cx="2023402" cy="2010832"/>
            </a:xfrm>
            <a:prstGeom prst="ellipse">
              <a:avLst/>
            </a:prstGeom>
            <a:solidFill>
              <a:sysClr val="window" lastClr="FFFFFF"/>
            </a:solidFill>
            <a:ln w="152400" cap="flat" cmpd="sng" algn="ctr">
              <a:solidFill>
                <a:srgbClr val="5B1B9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CF1A60A5-87C6-0081-761E-2A14E4F42CDD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292182" y="4954770"/>
              <a:ext cx="1695406" cy="56995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249A"/>
                  </a:solidFill>
                  <a:effectLst/>
                  <a:uLnTx/>
                  <a:uFillTx/>
                  <a:latin typeface="Segoe UI" panose="020B0502040204020203" pitchFamily="34" charset="0"/>
                  <a:ea typeface="Source Sans Pro" panose="020F0502020204030204" pitchFamily="34" charset="0"/>
                  <a:cs typeface="Segoe UI" panose="020B0502040204020203" pitchFamily="34" charset="0"/>
                </a:rPr>
                <a:t>Driving value from </a:t>
              </a:r>
              <a:b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249A"/>
                  </a:solidFill>
                  <a:effectLst/>
                  <a:uLnTx/>
                  <a:uFillTx/>
                  <a:latin typeface="Segoe UI" panose="020B0502040204020203" pitchFamily="34" charset="0"/>
                  <a:ea typeface="Source Sans Pro" panose="020F0502020204030204" pitchFamily="34" charset="0"/>
                  <a:cs typeface="Segoe UI" panose="020B0502040204020203" pitchFamily="34" charset="0"/>
                </a:rPr>
              </a:b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249A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6BCB6EE6-F331-0CDF-C111-3EBC261CBAC1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5301560" y="3834615"/>
            <a:ext cx="16595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Segoe UI" panose="020B0502040204020203" pitchFamily="34" charset="0"/>
                <a:ea typeface="Source Sans Pro" panose="020F0502020204030204" pitchFamily="34" charset="0"/>
                <a:cs typeface="Segoe UI" panose="020B0502040204020203" pitchFamily="34" charset="0"/>
              </a:rPr>
              <a:t>Core-to- Experienc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 panose="020B0502040204020203" pitchFamily="34" charset="0"/>
              <a:ea typeface="ヒラギノ角ゴ Pro W3" pitchFamily="124" charset="-128"/>
              <a:cs typeface="Segoe UI" panose="020B050204020402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18537F0-B974-D26F-5F81-E9CF254D28EA}"/>
              </a:ext>
            </a:extLst>
          </p:cNvPr>
          <p:cNvGrpSpPr/>
          <p:nvPr/>
        </p:nvGrpSpPr>
        <p:grpSpPr>
          <a:xfrm>
            <a:off x="1948438" y="1490327"/>
            <a:ext cx="1529196" cy="894604"/>
            <a:chOff x="6498062" y="1686616"/>
            <a:chExt cx="1682115" cy="89460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0095370-D9E9-756B-0090-F7BF79AC7650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auto">
            <a:xfrm>
              <a:off x="6598518" y="1686616"/>
              <a:ext cx="1529195" cy="894604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228600" dir="2700000" sx="90000" sy="90000" algn="ctr">
                <a:srgbClr val="000000">
                  <a:alpha val="14000"/>
                </a:srgbClr>
              </a:outerShdw>
            </a:effectLst>
          </p:spPr>
          <p:txBody>
            <a:bodyPr vert="horz" wrap="none" lIns="68580" tIns="34291" rIns="68580" bIns="34291" numCol="1" rtlCol="0" anchor="ctr" anchorCtr="0" compatLnSpc="1">
              <a:prstTxWarp prst="textNoShape">
                <a:avLst/>
              </a:prstTxWarp>
            </a:bodyPr>
            <a:lstStyle/>
            <a:p>
              <a:pPr marL="177796" marR="0" lvl="0" indent="-177796" algn="l" defTabSz="685783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IN" sz="1050" b="0" i="0" u="none" strike="noStrike" kern="0" cap="none" spc="0" normalizeH="0" baseline="0" noProof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Segoe UI" panose="020B0502040204020203" pitchFamily="34" charset="0"/>
                <a:ea typeface="STKaiti"/>
                <a:cs typeface="Segoe UI" panose="020B0502040204020203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C8DEEF0-49E2-1533-3377-5E1EB63714BD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6561936" y="1743368"/>
              <a:ext cx="1595951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249A"/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81,000+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D008218-2578-7120-97B1-C6C059B28B8A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6498062" y="2246847"/>
              <a:ext cx="1682115" cy="241980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marL="0" marR="0" lvl="0" indent="0" algn="ctr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ヒラギノ角ゴ Pro W3" pitchFamily="124" charset="-128"/>
                  <a:cs typeface="Segoe UI" panose="020B0502040204020203" pitchFamily="34" charset="0"/>
                </a:rPr>
                <a:t>LTIM Associates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21E1B4B-7B81-C9EF-C1F5-E7AFD9B82413}"/>
              </a:ext>
            </a:extLst>
          </p:cNvPr>
          <p:cNvGrpSpPr/>
          <p:nvPr/>
        </p:nvGrpSpPr>
        <p:grpSpPr>
          <a:xfrm>
            <a:off x="124464" y="5066322"/>
            <a:ext cx="11878427" cy="1295500"/>
            <a:chOff x="33291" y="3291237"/>
            <a:chExt cx="9041909" cy="1002784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812569F-EABD-8860-FD68-5794A5A5399A}"/>
                </a:ext>
              </a:extLst>
            </p:cNvPr>
            <p:cNvGrpSpPr/>
            <p:nvPr/>
          </p:nvGrpSpPr>
          <p:grpSpPr>
            <a:xfrm>
              <a:off x="1850033" y="3291238"/>
              <a:ext cx="1763316" cy="960120"/>
              <a:chOff x="2737322" y="4379486"/>
              <a:chExt cx="2160429" cy="1280160"/>
            </a:xfrm>
          </p:grpSpPr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CAD7D792-5F66-C3FC-2262-FFF942E9F6CD}"/>
                  </a:ext>
                </a:extLst>
              </p:cNvPr>
              <p:cNvSpPr/>
              <p:nvPr/>
            </p:nvSpPr>
            <p:spPr>
              <a:xfrm>
                <a:off x="2737322" y="4379486"/>
                <a:ext cx="2160429" cy="128016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02060"/>
                </a:solidFill>
              </a:ln>
              <a:effectLst>
                <a:outerShdw blurRad="508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endParaRP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695A31E5-CD5E-2CC4-A394-D97D62D1F6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55836" y="4445462"/>
                <a:ext cx="330812" cy="330812"/>
              </a:xfrm>
              <a:prstGeom prst="rect">
                <a:avLst/>
              </a:prstGeom>
            </p:spPr>
          </p:pic>
          <p:sp>
            <p:nvSpPr>
              <p:cNvPr id="34" name="Google Shape;54;p13">
                <a:extLst>
                  <a:ext uri="{FF2B5EF4-FFF2-40B4-BE49-F238E27FC236}">
                    <a16:creationId xmlns:a16="http://schemas.microsoft.com/office/drawing/2014/main" id="{35DE89ED-1359-7D67-4BBC-848A9F6D39F8}"/>
                  </a:ext>
                </a:extLst>
              </p:cNvPr>
              <p:cNvSpPr txBox="1"/>
              <p:nvPr/>
            </p:nvSpPr>
            <p:spPr>
              <a:xfrm>
                <a:off x="2851237" y="4886281"/>
                <a:ext cx="1970249" cy="6247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>
                <a:defPPr>
                  <a:defRPr lang="en-US"/>
                </a:defPPr>
                <a:lvl1pPr defTabSz="914354">
                  <a:defRPr sz="800" b="1">
                    <a:solidFill>
                      <a:srgbClr val="223628"/>
                    </a:solidFill>
                    <a:latin typeface="Frutiger 45 Light"/>
                    <a:ea typeface="STKaiti"/>
                    <a:cs typeface="Calibri" panose="020F0502020204030204" pitchFamily="34" charset="0"/>
                  </a:defRPr>
                </a:lvl1pPr>
                <a:lvl2pPr marL="457200" defTabSz="914400">
                  <a:defRPr sz="1800"/>
                </a:lvl2pPr>
                <a:lvl3pPr marL="914400" defTabSz="914400">
                  <a:defRPr sz="1800"/>
                </a:lvl3pPr>
                <a:lvl4pPr marL="1371600" defTabSz="914400">
                  <a:defRPr sz="1800"/>
                </a:lvl4pPr>
                <a:lvl5pPr marL="1828800" defTabSz="914400">
                  <a:defRPr sz="1800"/>
                </a:lvl5pPr>
                <a:lvl6pPr marL="2286000" defTabSz="914400">
                  <a:defRPr sz="1800"/>
                </a:lvl6pPr>
                <a:lvl7pPr marL="2743200" defTabSz="914400">
                  <a:defRPr sz="1800"/>
                </a:lvl7pPr>
                <a:lvl8pPr marL="3200400" defTabSz="914400">
                  <a:defRPr sz="1800"/>
                </a:lvl8pPr>
                <a:lvl9pPr marL="3657600" defTabSz="914400">
                  <a:defRPr sz="1800"/>
                </a:lvl9pPr>
              </a:lstStyle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Ranked </a:t>
                </a: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Enterprise Innovators 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for Core Banking Modernization, 2024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05CEE5A-88A7-72C6-BE83-79A351B39929}"/>
                </a:ext>
              </a:extLst>
            </p:cNvPr>
            <p:cNvGrpSpPr/>
            <p:nvPr/>
          </p:nvGrpSpPr>
          <p:grpSpPr>
            <a:xfrm>
              <a:off x="33291" y="3291239"/>
              <a:ext cx="1763314" cy="1002782"/>
              <a:chOff x="453062" y="4379490"/>
              <a:chExt cx="2160430" cy="1337044"/>
            </a:xfrm>
          </p:grpSpPr>
          <p:sp>
            <p:nvSpPr>
              <p:cNvPr id="29" name="Rectangle: Rounded Corners 28">
                <a:extLst>
                  <a:ext uri="{FF2B5EF4-FFF2-40B4-BE49-F238E27FC236}">
                    <a16:creationId xmlns:a16="http://schemas.microsoft.com/office/drawing/2014/main" id="{FE002367-7E68-067E-6AC9-0B97D1FC447C}"/>
                  </a:ext>
                </a:extLst>
              </p:cNvPr>
              <p:cNvSpPr/>
              <p:nvPr/>
            </p:nvSpPr>
            <p:spPr>
              <a:xfrm>
                <a:off x="453062" y="4379490"/>
                <a:ext cx="2160430" cy="1280162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02060"/>
                </a:solidFill>
              </a:ln>
              <a:effectLst>
                <a:outerShdw blurRad="508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AC1A44C0-5183-E5D5-1CAB-DD0A57CF6F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28591" y="4487355"/>
                <a:ext cx="730520" cy="247041"/>
              </a:xfrm>
              <a:prstGeom prst="rect">
                <a:avLst/>
              </a:prstGeom>
            </p:spPr>
          </p:pic>
          <p:sp>
            <p:nvSpPr>
              <p:cNvPr id="31" name="Google Shape;54;p13">
                <a:extLst>
                  <a:ext uri="{FF2B5EF4-FFF2-40B4-BE49-F238E27FC236}">
                    <a16:creationId xmlns:a16="http://schemas.microsoft.com/office/drawing/2014/main" id="{749B61CF-8C3C-3F0E-6AEA-4317D08A940B}"/>
                  </a:ext>
                </a:extLst>
              </p:cNvPr>
              <p:cNvSpPr txBox="1"/>
              <p:nvPr/>
            </p:nvSpPr>
            <p:spPr>
              <a:xfrm>
                <a:off x="508315" y="4888005"/>
                <a:ext cx="2049924" cy="8285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>
                <a:defPPr>
                  <a:defRPr lang="en-US"/>
                </a:defPPr>
                <a:lvl1pPr defTabSz="914354">
                  <a:defRPr sz="800" b="1">
                    <a:solidFill>
                      <a:srgbClr val="223628"/>
                    </a:solidFill>
                    <a:latin typeface="Frutiger 45 Light"/>
                    <a:ea typeface="STKaiti"/>
                    <a:cs typeface="Calibri" panose="020F0502020204030204" pitchFamily="34" charset="0"/>
                  </a:defRPr>
                </a:lvl1pPr>
                <a:lvl2pPr marL="457200" defTabSz="914400">
                  <a:defRPr sz="1800"/>
                </a:lvl2pPr>
                <a:lvl3pPr marL="914400" defTabSz="914400">
                  <a:defRPr sz="1800"/>
                </a:lvl3pPr>
                <a:lvl4pPr marL="1371600" defTabSz="914400">
                  <a:defRPr sz="1800"/>
                </a:lvl4pPr>
                <a:lvl5pPr marL="1828800" defTabSz="914400">
                  <a:defRPr sz="1800"/>
                </a:lvl5pPr>
                <a:lvl6pPr marL="2286000" defTabSz="914400">
                  <a:defRPr sz="1800"/>
                </a:lvl6pPr>
                <a:lvl7pPr marL="2743200" defTabSz="914400">
                  <a:defRPr sz="1800"/>
                </a:lvl7pPr>
                <a:lvl8pPr marL="3200400" defTabSz="914400">
                  <a:defRPr sz="1800"/>
                </a:lvl8pPr>
                <a:lvl9pPr marL="3657600" defTabSz="914400">
                  <a:defRPr sz="1800"/>
                </a:lvl9pPr>
              </a:lstStyle>
              <a:p>
                <a:pPr marL="0" marR="0" lvl="0" indent="0" algn="ctr" defTabSz="121907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33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Leader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 in Everest Group’s Capital Markets, Payments &amp; Lending IT Services PEAK Matrix® Assessment 2023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CDDA7AB-476F-0255-B6DE-C37A99B630B4}"/>
                </a:ext>
              </a:extLst>
            </p:cNvPr>
            <p:cNvGrpSpPr/>
            <p:nvPr/>
          </p:nvGrpSpPr>
          <p:grpSpPr>
            <a:xfrm>
              <a:off x="3663848" y="3291238"/>
              <a:ext cx="1763314" cy="960120"/>
              <a:chOff x="5021582" y="4399910"/>
              <a:chExt cx="2160427" cy="1280160"/>
            </a:xfrm>
          </p:grpSpPr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44B47A03-5243-3EFE-3F64-E30A7E376AF5}"/>
                  </a:ext>
                </a:extLst>
              </p:cNvPr>
              <p:cNvSpPr/>
              <p:nvPr/>
            </p:nvSpPr>
            <p:spPr>
              <a:xfrm>
                <a:off x="5021582" y="4399910"/>
                <a:ext cx="2160427" cy="128016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02060"/>
                </a:solidFill>
              </a:ln>
              <a:effectLst>
                <a:outerShdw blurRad="508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endParaRPr>
              </a:p>
            </p:txBody>
          </p:sp>
          <p:pic>
            <p:nvPicPr>
              <p:cNvPr id="27" name="Picture 4">
                <a:extLst>
                  <a:ext uri="{FF2B5EF4-FFF2-40B4-BE49-F238E27FC236}">
                    <a16:creationId xmlns:a16="http://schemas.microsoft.com/office/drawing/2014/main" id="{002401B1-38EC-DB2F-1D28-876191F9E4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/>
            </p:blipFill>
            <p:spPr bwMode="auto">
              <a:xfrm>
                <a:off x="5800676" y="4509363"/>
                <a:ext cx="609653" cy="243861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Google Shape;54;p13">
                <a:extLst>
                  <a:ext uri="{FF2B5EF4-FFF2-40B4-BE49-F238E27FC236}">
                    <a16:creationId xmlns:a16="http://schemas.microsoft.com/office/drawing/2014/main" id="{164E47D3-236B-4588-28EC-EF6B6EFA699C}"/>
                  </a:ext>
                </a:extLst>
              </p:cNvPr>
              <p:cNvSpPr txBox="1"/>
              <p:nvPr/>
            </p:nvSpPr>
            <p:spPr>
              <a:xfrm>
                <a:off x="5155941" y="4935406"/>
                <a:ext cx="1801510" cy="4341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>
                <a:defPPr>
                  <a:defRPr lang="en-US"/>
                </a:defPPr>
                <a:lvl1pPr defTabSz="914354">
                  <a:defRPr sz="800" b="1">
                    <a:solidFill>
                      <a:srgbClr val="223628"/>
                    </a:solidFill>
                    <a:latin typeface="Frutiger 45 Light"/>
                    <a:ea typeface="STKaiti"/>
                    <a:cs typeface="Calibri" panose="020F0502020204030204" pitchFamily="34" charset="0"/>
                  </a:defRPr>
                </a:lvl1pPr>
                <a:lvl2pPr marL="457200" defTabSz="914400">
                  <a:defRPr sz="1800"/>
                </a:lvl2pPr>
                <a:lvl3pPr marL="914400" defTabSz="914400">
                  <a:defRPr sz="1800"/>
                </a:lvl3pPr>
                <a:lvl4pPr marL="1371600" defTabSz="914400">
                  <a:defRPr sz="1800"/>
                </a:lvl4pPr>
                <a:lvl5pPr marL="1828800" defTabSz="914400">
                  <a:defRPr sz="1800"/>
                </a:lvl5pPr>
                <a:lvl6pPr marL="2286000" defTabSz="914400">
                  <a:defRPr sz="1800"/>
                </a:lvl6pPr>
                <a:lvl7pPr marL="2743200" defTabSz="914400">
                  <a:defRPr sz="1800"/>
                </a:lvl7pPr>
                <a:lvl8pPr marL="3200400" defTabSz="914400">
                  <a:defRPr sz="1800"/>
                </a:lvl8pPr>
                <a:lvl9pPr marL="3657600" defTabSz="914400">
                  <a:defRPr sz="1800"/>
                </a:lvl9pPr>
              </a:lstStyle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Positioned as </a:t>
                </a: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Leaders 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for ESG Services in Banking, 2024 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2B14B02-2AC3-FCD1-2FFB-52BE60F4FB85}"/>
                </a:ext>
              </a:extLst>
            </p:cNvPr>
            <p:cNvGrpSpPr/>
            <p:nvPr/>
          </p:nvGrpSpPr>
          <p:grpSpPr>
            <a:xfrm>
              <a:off x="5483657" y="3291238"/>
              <a:ext cx="1763314" cy="960120"/>
              <a:chOff x="7305842" y="4380303"/>
              <a:chExt cx="2160427" cy="1280159"/>
            </a:xfrm>
          </p:grpSpPr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ACD3CCFB-47DC-28BF-B371-61DED3875F55}"/>
                  </a:ext>
                </a:extLst>
              </p:cNvPr>
              <p:cNvSpPr/>
              <p:nvPr/>
            </p:nvSpPr>
            <p:spPr>
              <a:xfrm>
                <a:off x="7305842" y="4380303"/>
                <a:ext cx="2160427" cy="1280159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02060"/>
                </a:solidFill>
              </a:ln>
              <a:effectLst>
                <a:outerShdw blurRad="508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endParaRPr>
              </a:p>
            </p:txBody>
          </p:sp>
          <p:pic>
            <p:nvPicPr>
              <p:cNvPr id="24" name="Picture 2">
                <a:extLst>
                  <a:ext uri="{FF2B5EF4-FFF2-40B4-BE49-F238E27FC236}">
                    <a16:creationId xmlns:a16="http://schemas.microsoft.com/office/drawing/2014/main" id="{5EEAD8E5-0C08-02E4-D441-95D18834A2D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/>
            </p:blipFill>
            <p:spPr bwMode="auto">
              <a:xfrm>
                <a:off x="8243445" y="4508046"/>
                <a:ext cx="292633" cy="207283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Google Shape;54;p13">
                <a:extLst>
                  <a:ext uri="{FF2B5EF4-FFF2-40B4-BE49-F238E27FC236}">
                    <a16:creationId xmlns:a16="http://schemas.microsoft.com/office/drawing/2014/main" id="{2F90FF11-013E-F0C5-2E40-BEDEAF502A0D}"/>
                  </a:ext>
                </a:extLst>
              </p:cNvPr>
              <p:cNvSpPr txBox="1"/>
              <p:nvPr/>
            </p:nvSpPr>
            <p:spPr>
              <a:xfrm>
                <a:off x="7414534" y="4899460"/>
                <a:ext cx="1996910" cy="6052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>
                <a:defPPr>
                  <a:defRPr lang="en-US"/>
                </a:defPPr>
                <a:lvl1pPr defTabSz="914354">
                  <a:defRPr sz="800" b="1">
                    <a:solidFill>
                      <a:srgbClr val="223628"/>
                    </a:solidFill>
                    <a:latin typeface="Frutiger 45 Light"/>
                    <a:ea typeface="STKaiti"/>
                    <a:cs typeface="Calibri" panose="020F0502020204030204" pitchFamily="34" charset="0"/>
                  </a:defRPr>
                </a:lvl1pPr>
                <a:lvl2pPr marL="457200" defTabSz="914400">
                  <a:defRPr sz="1800"/>
                </a:lvl2pPr>
                <a:lvl3pPr marL="914400" defTabSz="914400">
                  <a:defRPr sz="1800"/>
                </a:lvl3pPr>
                <a:lvl4pPr marL="1371600" defTabSz="914400">
                  <a:defRPr sz="1800"/>
                </a:lvl4pPr>
                <a:lvl5pPr marL="1828800" defTabSz="914400">
                  <a:defRPr sz="1800"/>
                </a:lvl5pPr>
                <a:lvl6pPr marL="2286000" defTabSz="914400">
                  <a:defRPr sz="1800"/>
                </a:lvl6pPr>
                <a:lvl7pPr marL="2743200" defTabSz="914400">
                  <a:defRPr sz="1800"/>
                </a:lvl7pPr>
                <a:lvl8pPr marL="3200400" defTabSz="914400">
                  <a:defRPr sz="1800"/>
                </a:lvl8pPr>
                <a:lvl9pPr marL="3657600" defTabSz="914400">
                  <a:defRPr sz="1800"/>
                </a:lvl9pPr>
              </a:lstStyle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Recognizes as a </a:t>
                </a: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Leader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 in Core Modernization  &amp; Payment Services in US - 2023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47F943A-B069-0F24-97CF-B8EB3EF11CF4}"/>
                </a:ext>
              </a:extLst>
            </p:cNvPr>
            <p:cNvGrpSpPr/>
            <p:nvPr/>
          </p:nvGrpSpPr>
          <p:grpSpPr>
            <a:xfrm>
              <a:off x="7311886" y="3291237"/>
              <a:ext cx="1763314" cy="960120"/>
              <a:chOff x="9590102" y="4390245"/>
              <a:chExt cx="2160427" cy="1280160"/>
            </a:xfrm>
          </p:grpSpPr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8D794EA7-25D2-7C7A-81F9-63318AFBFDF5}"/>
                  </a:ext>
                </a:extLst>
              </p:cNvPr>
              <p:cNvSpPr/>
              <p:nvPr/>
            </p:nvSpPr>
            <p:spPr>
              <a:xfrm>
                <a:off x="9590102" y="4390245"/>
                <a:ext cx="2160427" cy="128016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02060"/>
                </a:solidFill>
              </a:ln>
              <a:effectLst>
                <a:outerShdw blurRad="508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endParaRP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3513C87C-0417-B744-4B1B-191E388D95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205345" y="4475893"/>
                <a:ext cx="937355" cy="291467"/>
              </a:xfrm>
              <a:prstGeom prst="rect">
                <a:avLst/>
              </a:prstGeom>
            </p:spPr>
          </p:pic>
          <p:sp>
            <p:nvSpPr>
              <p:cNvPr id="22" name="Google Shape;54;p13">
                <a:extLst>
                  <a:ext uri="{FF2B5EF4-FFF2-40B4-BE49-F238E27FC236}">
                    <a16:creationId xmlns:a16="http://schemas.microsoft.com/office/drawing/2014/main" id="{2589B284-C6E1-56AE-1A4F-EC4ADA0079A6}"/>
                  </a:ext>
                </a:extLst>
              </p:cNvPr>
              <p:cNvSpPr txBox="1"/>
              <p:nvPr/>
            </p:nvSpPr>
            <p:spPr>
              <a:xfrm>
                <a:off x="9800667" y="4903887"/>
                <a:ext cx="1727835" cy="6247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>
                <a:defPPr>
                  <a:defRPr lang="en-US"/>
                </a:defPPr>
                <a:lvl1pPr defTabSz="914354">
                  <a:defRPr sz="800" b="1">
                    <a:solidFill>
                      <a:srgbClr val="223628"/>
                    </a:solidFill>
                    <a:latin typeface="Frutiger 45 Light"/>
                    <a:ea typeface="STKaiti"/>
                    <a:cs typeface="Calibri" panose="020F0502020204030204" pitchFamily="34" charset="0"/>
                  </a:defRPr>
                </a:lvl1pPr>
                <a:lvl2pPr marL="457200" defTabSz="914400">
                  <a:defRPr sz="1800"/>
                </a:lvl2pPr>
                <a:lvl3pPr marL="914400" defTabSz="914400">
                  <a:defRPr sz="1800"/>
                </a:lvl3pPr>
                <a:lvl4pPr marL="1371600" defTabSz="914400">
                  <a:defRPr sz="1800"/>
                </a:lvl4pPr>
                <a:lvl5pPr marL="1828800" defTabSz="914400">
                  <a:defRPr sz="1800"/>
                </a:lvl5pPr>
                <a:lvl6pPr marL="2286000" defTabSz="914400">
                  <a:defRPr sz="1800"/>
                </a:lvl6pPr>
                <a:lvl7pPr marL="2743200" defTabSz="914400">
                  <a:defRPr sz="1800"/>
                </a:lvl7pPr>
                <a:lvl8pPr marL="3200400" defTabSz="914400">
                  <a:defRPr sz="1800"/>
                </a:lvl8pPr>
                <a:lvl9pPr marL="3657600" defTabSz="914400">
                  <a:defRPr sz="1800"/>
                </a:lvl9pPr>
              </a:lstStyle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Ranked </a:t>
                </a: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Innovators 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for </a:t>
                </a:r>
                <a:r>
                  <a:rPr kumimoji="0" lang="en-US" sz="12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Avasant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223628"/>
                    </a:solidFill>
                    <a:effectLst/>
                    <a:uLnTx/>
                    <a:uFillTx/>
                    <a:latin typeface="Frutiger 45 bold"/>
                    <a:ea typeface="STKaiti"/>
                    <a:cs typeface="Calibri" panose="020F0502020204030204" pitchFamily="34" charset="0"/>
                    <a:sym typeface="Josefin Sans"/>
                  </a:rPr>
                  <a:t> Banking Digital Services, 2024  </a:t>
                </a:r>
                <a:endParaRPr kumimoji="0" lang="en-US" sz="933" b="0" i="0" u="none" strike="noStrike" kern="1200" cap="none" spc="0" normalizeH="0" baseline="0" noProof="0">
                  <a:ln>
                    <a:noFill/>
                  </a:ln>
                  <a:solidFill>
                    <a:srgbClr val="223628"/>
                  </a:solidFill>
                  <a:effectLst/>
                  <a:uLnTx/>
                  <a:uFillTx/>
                  <a:latin typeface="Frutiger 45 bold"/>
                  <a:ea typeface="STKaiti"/>
                  <a:cs typeface="Calibri" panose="020F0502020204030204" pitchFamily="34" charset="0"/>
                  <a:sym typeface="Josefin San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52440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D4DC7D-738D-60C6-9F87-052EF6E1CE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1">
            <a:extLst>
              <a:ext uri="{FF2B5EF4-FFF2-40B4-BE49-F238E27FC236}">
                <a16:creationId xmlns:a16="http://schemas.microsoft.com/office/drawing/2014/main" id="{B957AE7A-CAC8-275D-FC3E-14572B4F9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27" y="171155"/>
            <a:ext cx="11338560" cy="457200"/>
          </a:xfrm>
        </p:spPr>
        <p:txBody>
          <a:bodyPr>
            <a:noAutofit/>
          </a:bodyPr>
          <a:lstStyle/>
          <a:p>
            <a:r>
              <a:rPr lang="en-US"/>
              <a:t>We have incubated specialized practices within BFS focusing on domain, technology &amp; solutions…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0143DC84-0827-37C1-E4C8-A054119E0382}"/>
              </a:ext>
            </a:extLst>
          </p:cNvPr>
          <p:cNvSpPr/>
          <p:nvPr/>
        </p:nvSpPr>
        <p:spPr>
          <a:xfrm>
            <a:off x="585453" y="1215278"/>
            <a:ext cx="2572504" cy="4676022"/>
          </a:xfrm>
          <a:prstGeom prst="roundRect">
            <a:avLst>
              <a:gd name="adj" fmla="val 3050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52400" dist="152400" dir="42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F7902511-8BB7-447D-05FD-4D0CBFD87194}"/>
              </a:ext>
            </a:extLst>
          </p:cNvPr>
          <p:cNvSpPr/>
          <p:nvPr/>
        </p:nvSpPr>
        <p:spPr>
          <a:xfrm>
            <a:off x="585454" y="1215278"/>
            <a:ext cx="2572504" cy="401880"/>
          </a:xfrm>
          <a:prstGeom prst="roundRect">
            <a:avLst/>
          </a:prstGeom>
          <a:gradFill flip="none" rotWithShape="1">
            <a:gsLst>
              <a:gs pos="50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omain</a:t>
            </a: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D9555E04-C098-5886-FA3A-63E2CFFAEAD0}"/>
              </a:ext>
            </a:extLst>
          </p:cNvPr>
          <p:cNvSpPr/>
          <p:nvPr/>
        </p:nvSpPr>
        <p:spPr>
          <a:xfrm>
            <a:off x="393190" y="1127450"/>
            <a:ext cx="567664" cy="5851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9AF4EC5-617C-549C-1C03-EE2AB8A0D6AC}"/>
              </a:ext>
            </a:extLst>
          </p:cNvPr>
          <p:cNvSpPr/>
          <p:nvPr/>
        </p:nvSpPr>
        <p:spPr>
          <a:xfrm>
            <a:off x="441555" y="1177303"/>
            <a:ext cx="470934" cy="485428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3D787720-C37D-3C2B-49A0-4A820A403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26715" y="1266521"/>
            <a:ext cx="297826" cy="306992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79487F06-A439-6F6F-2C29-47258592E639}"/>
              </a:ext>
            </a:extLst>
          </p:cNvPr>
          <p:cNvSpPr/>
          <p:nvPr/>
        </p:nvSpPr>
        <p:spPr>
          <a:xfrm>
            <a:off x="3413907" y="1269262"/>
            <a:ext cx="2572504" cy="4622038"/>
          </a:xfrm>
          <a:prstGeom prst="roundRect">
            <a:avLst>
              <a:gd name="adj" fmla="val 3050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52400" dist="152400" dir="42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FB083424-80ED-7E0F-D4BB-48056E239E58}"/>
              </a:ext>
            </a:extLst>
          </p:cNvPr>
          <p:cNvSpPr/>
          <p:nvPr/>
        </p:nvSpPr>
        <p:spPr>
          <a:xfrm>
            <a:off x="3413909" y="1215278"/>
            <a:ext cx="2572504" cy="40188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chnology</a:t>
            </a: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937E968B-3D56-91B0-D2D9-C9C30CD5B691}"/>
              </a:ext>
            </a:extLst>
          </p:cNvPr>
          <p:cNvSpPr/>
          <p:nvPr/>
        </p:nvSpPr>
        <p:spPr>
          <a:xfrm>
            <a:off x="3221645" y="1127450"/>
            <a:ext cx="567664" cy="5851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58CC0972-F255-2E2E-F4D6-1A46C691F3FF}"/>
              </a:ext>
            </a:extLst>
          </p:cNvPr>
          <p:cNvSpPr/>
          <p:nvPr/>
        </p:nvSpPr>
        <p:spPr>
          <a:xfrm>
            <a:off x="3270010" y="1177303"/>
            <a:ext cx="470934" cy="485428"/>
          </a:xfrm>
          <a:prstGeom prst="ellipse">
            <a:avLst/>
          </a:prstGeom>
          <a:solidFill>
            <a:srgbClr val="6722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A7D137B7-5F82-7068-958E-8DF97DF7146A}"/>
              </a:ext>
            </a:extLst>
          </p:cNvPr>
          <p:cNvSpPr/>
          <p:nvPr/>
        </p:nvSpPr>
        <p:spPr>
          <a:xfrm>
            <a:off x="6292467" y="1215278"/>
            <a:ext cx="2572504" cy="4676022"/>
          </a:xfrm>
          <a:prstGeom prst="roundRect">
            <a:avLst>
              <a:gd name="adj" fmla="val 3050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52400" dist="152400" dir="42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4" name="Rectangle: Rounded Corners 143">
            <a:extLst>
              <a:ext uri="{FF2B5EF4-FFF2-40B4-BE49-F238E27FC236}">
                <a16:creationId xmlns:a16="http://schemas.microsoft.com/office/drawing/2014/main" id="{08E87FFB-E696-0023-77BA-31AD6044B840}"/>
              </a:ext>
            </a:extLst>
          </p:cNvPr>
          <p:cNvSpPr/>
          <p:nvPr/>
        </p:nvSpPr>
        <p:spPr>
          <a:xfrm>
            <a:off x="6292468" y="1215278"/>
            <a:ext cx="2572504" cy="401880"/>
          </a:xfrm>
          <a:prstGeom prst="roundRect">
            <a:avLst/>
          </a:prstGeom>
          <a:gradFill flip="none" rotWithShape="1">
            <a:gsLst>
              <a:gs pos="50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rtnerships</a:t>
            </a: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0881E6C3-5876-3F1F-7143-E7209665F808}"/>
              </a:ext>
            </a:extLst>
          </p:cNvPr>
          <p:cNvSpPr/>
          <p:nvPr/>
        </p:nvSpPr>
        <p:spPr>
          <a:xfrm>
            <a:off x="6100204" y="1127450"/>
            <a:ext cx="567664" cy="5851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9A04D7FD-8D29-A05E-5ADC-E4479472D8E0}"/>
              </a:ext>
            </a:extLst>
          </p:cNvPr>
          <p:cNvSpPr/>
          <p:nvPr/>
        </p:nvSpPr>
        <p:spPr>
          <a:xfrm>
            <a:off x="6148569" y="1177303"/>
            <a:ext cx="470934" cy="485428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3" name="Rectangle: Rounded Corners 152">
            <a:extLst>
              <a:ext uri="{FF2B5EF4-FFF2-40B4-BE49-F238E27FC236}">
                <a16:creationId xmlns:a16="http://schemas.microsoft.com/office/drawing/2014/main" id="{478878B6-6878-9F8A-9AE0-E2120BF6310B}"/>
              </a:ext>
            </a:extLst>
          </p:cNvPr>
          <p:cNvSpPr/>
          <p:nvPr/>
        </p:nvSpPr>
        <p:spPr>
          <a:xfrm>
            <a:off x="9120922" y="1215278"/>
            <a:ext cx="2572504" cy="4676022"/>
          </a:xfrm>
          <a:prstGeom prst="roundRect">
            <a:avLst>
              <a:gd name="adj" fmla="val 3050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52400" dist="152400" dir="42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85" name="Rectangle: Rounded Corners 184">
            <a:extLst>
              <a:ext uri="{FF2B5EF4-FFF2-40B4-BE49-F238E27FC236}">
                <a16:creationId xmlns:a16="http://schemas.microsoft.com/office/drawing/2014/main" id="{4CC7B477-3379-D156-1ADE-5BD5C7DAE726}"/>
              </a:ext>
            </a:extLst>
          </p:cNvPr>
          <p:cNvSpPr/>
          <p:nvPr/>
        </p:nvSpPr>
        <p:spPr>
          <a:xfrm>
            <a:off x="9120923" y="1215278"/>
            <a:ext cx="2572504" cy="40188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latforms / IPs</a:t>
            </a: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70AD42E5-73F7-7636-76B4-26469A717D7D}"/>
              </a:ext>
            </a:extLst>
          </p:cNvPr>
          <p:cNvSpPr/>
          <p:nvPr/>
        </p:nvSpPr>
        <p:spPr>
          <a:xfrm>
            <a:off x="8928659" y="1127450"/>
            <a:ext cx="567664" cy="5851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BC05C8F5-630D-7F0C-F27D-EA4074FB1E50}"/>
              </a:ext>
            </a:extLst>
          </p:cNvPr>
          <p:cNvSpPr/>
          <p:nvPr/>
        </p:nvSpPr>
        <p:spPr>
          <a:xfrm>
            <a:off x="8977024" y="1177303"/>
            <a:ext cx="470934" cy="485428"/>
          </a:xfrm>
          <a:prstGeom prst="ellipse">
            <a:avLst/>
          </a:prstGeom>
          <a:solidFill>
            <a:srgbClr val="6722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698FF39F-7273-667F-BB83-A0DEDE61B6E6}"/>
              </a:ext>
            </a:extLst>
          </p:cNvPr>
          <p:cNvSpPr txBox="1"/>
          <p:nvPr/>
        </p:nvSpPr>
        <p:spPr>
          <a:xfrm>
            <a:off x="640436" y="1705549"/>
            <a:ext cx="2457560" cy="30702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gital Banking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re, Channels, Retail &amp; Corporate Products</a:t>
            </a:r>
            <a:endParaRPr kumimoji="0" lang="en-US" sz="1100" b="0" i="1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ards &amp; Payments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re &amp; Digital Payments, Issuing &amp; Acquiring</a:t>
            </a:r>
          </a:p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apital Markets 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latforms, Wealth &amp; Asset Management</a:t>
            </a:r>
            <a:endParaRPr kumimoji="0" lang="en-US" sz="1100" b="0" i="1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27" name="Picture 1026">
            <a:extLst>
              <a:ext uri="{FF2B5EF4-FFF2-40B4-BE49-F238E27FC236}">
                <a16:creationId xmlns:a16="http://schemas.microsoft.com/office/drawing/2014/main" id="{56518512-2E59-C9F3-4283-9B8065A45A5A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577784" y="2690986"/>
            <a:ext cx="2580173" cy="57500"/>
          </a:xfrm>
          <a:prstGeom prst="rect">
            <a:avLst/>
          </a:prstGeom>
        </p:spPr>
      </p:pic>
      <p:pic>
        <p:nvPicPr>
          <p:cNvPr id="1028" name="Picture 1027">
            <a:extLst>
              <a:ext uri="{FF2B5EF4-FFF2-40B4-BE49-F238E27FC236}">
                <a16:creationId xmlns:a16="http://schemas.microsoft.com/office/drawing/2014/main" id="{831DB9F9-75EA-C1A5-242E-32710FD4B83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577784" y="3811574"/>
            <a:ext cx="2580173" cy="57500"/>
          </a:xfrm>
          <a:prstGeom prst="rect">
            <a:avLst/>
          </a:prstGeom>
        </p:spPr>
      </p:pic>
      <p:pic>
        <p:nvPicPr>
          <p:cNvPr id="1029" name="Picture 1028">
            <a:extLst>
              <a:ext uri="{FF2B5EF4-FFF2-40B4-BE49-F238E27FC236}">
                <a16:creationId xmlns:a16="http://schemas.microsoft.com/office/drawing/2014/main" id="{1EF0A9A8-415E-F54B-EE47-FD9C8F7C1178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577783" y="4821995"/>
            <a:ext cx="2580173" cy="57500"/>
          </a:xfrm>
          <a:prstGeom prst="rect">
            <a:avLst/>
          </a:prstGeom>
        </p:spPr>
      </p:pic>
      <p:sp>
        <p:nvSpPr>
          <p:cNvPr id="1031" name="TextBox 1030">
            <a:extLst>
              <a:ext uri="{FF2B5EF4-FFF2-40B4-BE49-F238E27FC236}">
                <a16:creationId xmlns:a16="http://schemas.microsoft.com/office/drawing/2014/main" id="{8A72D77D-F6A5-9419-0CAD-3457BE98B950}"/>
              </a:ext>
            </a:extLst>
          </p:cNvPr>
          <p:cNvSpPr txBox="1"/>
          <p:nvPr/>
        </p:nvSpPr>
        <p:spPr>
          <a:xfrm>
            <a:off x="3413905" y="1847602"/>
            <a:ext cx="2457560" cy="5436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rchitecture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dernization, Consulting</a:t>
            </a:r>
            <a:endParaRPr kumimoji="0" lang="en-US" sz="1100" b="0" i="1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32" name="Picture 1031">
            <a:extLst>
              <a:ext uri="{FF2B5EF4-FFF2-40B4-BE49-F238E27FC236}">
                <a16:creationId xmlns:a16="http://schemas.microsoft.com/office/drawing/2014/main" id="{04B071FF-A05B-6BCF-460A-E7018F586A5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3504083" y="2668600"/>
            <a:ext cx="2580173" cy="57500"/>
          </a:xfrm>
          <a:prstGeom prst="rect">
            <a:avLst/>
          </a:prstGeom>
        </p:spPr>
      </p:pic>
      <p:pic>
        <p:nvPicPr>
          <p:cNvPr id="1033" name="Picture 1032">
            <a:extLst>
              <a:ext uri="{FF2B5EF4-FFF2-40B4-BE49-F238E27FC236}">
                <a16:creationId xmlns:a16="http://schemas.microsoft.com/office/drawing/2014/main" id="{CCA05E3A-E7BC-DC16-26C3-B6DCC8873F3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3366490" y="3830288"/>
            <a:ext cx="2580173" cy="57500"/>
          </a:xfrm>
          <a:prstGeom prst="rect">
            <a:avLst/>
          </a:prstGeom>
        </p:spPr>
      </p:pic>
      <p:pic>
        <p:nvPicPr>
          <p:cNvPr id="1034" name="Picture 1033">
            <a:extLst>
              <a:ext uri="{FF2B5EF4-FFF2-40B4-BE49-F238E27FC236}">
                <a16:creationId xmlns:a16="http://schemas.microsoft.com/office/drawing/2014/main" id="{8DC94FD3-915C-5FDF-2542-3A8E7B85A79E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3427797" y="4849291"/>
            <a:ext cx="2580173" cy="57500"/>
          </a:xfrm>
          <a:prstGeom prst="rect">
            <a:avLst/>
          </a:prstGeom>
        </p:spPr>
      </p:pic>
      <p:sp>
        <p:nvSpPr>
          <p:cNvPr id="1036" name="TextBox 1035">
            <a:extLst>
              <a:ext uri="{FF2B5EF4-FFF2-40B4-BE49-F238E27FC236}">
                <a16:creationId xmlns:a16="http://schemas.microsoft.com/office/drawing/2014/main" id="{93EB1EB8-BE26-CEF1-C5E1-78F0F9C86F52}"/>
              </a:ext>
            </a:extLst>
          </p:cNvPr>
          <p:cNvSpPr txBox="1"/>
          <p:nvPr/>
        </p:nvSpPr>
        <p:spPr>
          <a:xfrm>
            <a:off x="3413905" y="2912788"/>
            <a:ext cx="245756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gital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PI, Experience, Automation, Digital Marketing, New Tech</a:t>
            </a: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F648665E-3462-4276-EE77-8666D859D25A}"/>
              </a:ext>
            </a:extLst>
          </p:cNvPr>
          <p:cNvSpPr txBox="1"/>
          <p:nvPr/>
        </p:nvSpPr>
        <p:spPr>
          <a:xfrm>
            <a:off x="3427797" y="4005014"/>
            <a:ext cx="245756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on Cloud, Analytics, AI/ML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enAI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EB950195-F4B1-A243-5993-270C97CD4FD8}"/>
              </a:ext>
            </a:extLst>
          </p:cNvPr>
          <p:cNvSpPr txBox="1"/>
          <p:nvPr/>
        </p:nvSpPr>
        <p:spPr>
          <a:xfrm>
            <a:off x="3427797" y="5069996"/>
            <a:ext cx="245756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loud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ablement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gg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, DevOp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39" name="Picture 1038">
            <a:extLst>
              <a:ext uri="{FF2B5EF4-FFF2-40B4-BE49-F238E27FC236}">
                <a16:creationId xmlns:a16="http://schemas.microsoft.com/office/drawing/2014/main" id="{3A8FEF61-5EF8-3BF0-BFF7-690D89FF7D2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6566" y="1237683"/>
            <a:ext cx="361569" cy="361568"/>
          </a:xfrm>
          <a:prstGeom prst="rect">
            <a:avLst/>
          </a:prstGeom>
        </p:spPr>
      </p:pic>
      <p:pic>
        <p:nvPicPr>
          <p:cNvPr id="1040" name="Picture 1039">
            <a:extLst>
              <a:ext uri="{FF2B5EF4-FFF2-40B4-BE49-F238E27FC236}">
                <a16:creationId xmlns:a16="http://schemas.microsoft.com/office/drawing/2014/main" id="{3F44F3AA-BA38-DC7A-D6AC-14B53A7355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5969" y="1251081"/>
            <a:ext cx="361569" cy="361568"/>
          </a:xfrm>
          <a:prstGeom prst="rect">
            <a:avLst/>
          </a:prstGeom>
        </p:spPr>
      </p:pic>
      <p:sp>
        <p:nvSpPr>
          <p:cNvPr id="1041" name="TextBox 1040">
            <a:extLst>
              <a:ext uri="{FF2B5EF4-FFF2-40B4-BE49-F238E27FC236}">
                <a16:creationId xmlns:a16="http://schemas.microsoft.com/office/drawing/2014/main" id="{856FEC1D-FD8A-3A33-8FE0-A51C2D578A7F}"/>
              </a:ext>
            </a:extLst>
          </p:cNvPr>
          <p:cNvSpPr txBox="1"/>
          <p:nvPr/>
        </p:nvSpPr>
        <p:spPr>
          <a:xfrm>
            <a:off x="6242361" y="1883148"/>
            <a:ext cx="2457560" cy="5436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yperscalers</a:t>
            </a:r>
            <a:b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icrosoft, AWS, GCP</a:t>
            </a:r>
            <a:endParaRPr kumimoji="0" lang="en-US" sz="1100" b="0" i="1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42" name="Picture 1041">
            <a:extLst>
              <a:ext uri="{FF2B5EF4-FFF2-40B4-BE49-F238E27FC236}">
                <a16:creationId xmlns:a16="http://schemas.microsoft.com/office/drawing/2014/main" id="{4C6411ED-2EC9-803B-E17F-084B2B67C63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6284798" y="2690986"/>
            <a:ext cx="2580173" cy="57500"/>
          </a:xfrm>
          <a:prstGeom prst="rect">
            <a:avLst/>
          </a:prstGeom>
        </p:spPr>
      </p:pic>
      <p:pic>
        <p:nvPicPr>
          <p:cNvPr id="1043" name="Picture 1042">
            <a:extLst>
              <a:ext uri="{FF2B5EF4-FFF2-40B4-BE49-F238E27FC236}">
                <a16:creationId xmlns:a16="http://schemas.microsoft.com/office/drawing/2014/main" id="{4E84056F-5F05-441F-693E-03BA66FFE2E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6292467" y="3811574"/>
            <a:ext cx="2580173" cy="57500"/>
          </a:xfrm>
          <a:prstGeom prst="rect">
            <a:avLst/>
          </a:prstGeom>
        </p:spPr>
      </p:pic>
      <p:sp>
        <p:nvSpPr>
          <p:cNvPr id="1044" name="TextBox 1043">
            <a:extLst>
              <a:ext uri="{FF2B5EF4-FFF2-40B4-BE49-F238E27FC236}">
                <a16:creationId xmlns:a16="http://schemas.microsoft.com/office/drawing/2014/main" id="{9D75AF39-1C22-015C-2E55-3612D3B0E961}"/>
              </a:ext>
            </a:extLst>
          </p:cNvPr>
          <p:cNvSpPr txBox="1"/>
          <p:nvPr/>
        </p:nvSpPr>
        <p:spPr>
          <a:xfrm>
            <a:off x="6329017" y="2899060"/>
            <a:ext cx="2457560" cy="7745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dustry Platforms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menos, Pega, Fiserv, FIS, Finastra, Newgen, Intellect </a:t>
            </a:r>
            <a:endParaRPr kumimoji="0" lang="en-US" sz="1100" b="0" i="1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3B031BC-42F1-C3D1-9D3D-BB0DD8B0FDF0}"/>
              </a:ext>
            </a:extLst>
          </p:cNvPr>
          <p:cNvSpPr txBox="1"/>
          <p:nvPr/>
        </p:nvSpPr>
        <p:spPr>
          <a:xfrm>
            <a:off x="6214648" y="4005014"/>
            <a:ext cx="2686298" cy="7745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w Tech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nowflake, SFDC, ServiceNow, Camunda</a:t>
            </a:r>
            <a:endParaRPr kumimoji="0" lang="en-US" sz="1100" b="0" i="1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46" name="Picture 1045">
            <a:extLst>
              <a:ext uri="{FF2B5EF4-FFF2-40B4-BE49-F238E27FC236}">
                <a16:creationId xmlns:a16="http://schemas.microsoft.com/office/drawing/2014/main" id="{E76D791B-90D2-46E9-FFAA-170B8BFC6D3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6334904" y="4878462"/>
            <a:ext cx="2580173" cy="57500"/>
          </a:xfrm>
          <a:prstGeom prst="rect">
            <a:avLst/>
          </a:prstGeom>
        </p:spPr>
      </p:pic>
      <p:sp>
        <p:nvSpPr>
          <p:cNvPr id="1047" name="TextBox 1046">
            <a:extLst>
              <a:ext uri="{FF2B5EF4-FFF2-40B4-BE49-F238E27FC236}">
                <a16:creationId xmlns:a16="http://schemas.microsoft.com/office/drawing/2014/main" id="{503B0C2D-0C16-8E32-3FF4-D610D3DC9424}"/>
              </a:ext>
            </a:extLst>
          </p:cNvPr>
          <p:cNvSpPr txBox="1"/>
          <p:nvPr/>
        </p:nvSpPr>
        <p:spPr>
          <a:xfrm>
            <a:off x="6242361" y="5055314"/>
            <a:ext cx="2572504" cy="7745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intech</a:t>
            </a:r>
            <a:b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X, Thought Machine, Mambu, M2P, Gieom</a:t>
            </a:r>
            <a:endParaRPr kumimoji="0" lang="en-US" sz="1100" b="0" i="1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1B4602DB-E73D-565A-AA5F-7DB8F697A6D6}"/>
              </a:ext>
            </a:extLst>
          </p:cNvPr>
          <p:cNvSpPr txBox="1"/>
          <p:nvPr/>
        </p:nvSpPr>
        <p:spPr>
          <a:xfrm>
            <a:off x="9057234" y="1875937"/>
            <a:ext cx="2457560" cy="531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TIM BaaS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anking as a Service Platform </a:t>
            </a:r>
            <a:endParaRPr kumimoji="0" lang="en-US" sz="1100" b="0" i="1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49" name="Picture 1048">
            <a:extLst>
              <a:ext uri="{FF2B5EF4-FFF2-40B4-BE49-F238E27FC236}">
                <a16:creationId xmlns:a16="http://schemas.microsoft.com/office/drawing/2014/main" id="{D3731D9E-AE24-8C67-C582-1CEF1539C36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9176941" y="2665823"/>
            <a:ext cx="2580173" cy="57500"/>
          </a:xfrm>
          <a:prstGeom prst="rect">
            <a:avLst/>
          </a:prstGeom>
        </p:spPr>
      </p:pic>
      <p:sp>
        <p:nvSpPr>
          <p:cNvPr id="1050" name="TextBox 1049">
            <a:extLst>
              <a:ext uri="{FF2B5EF4-FFF2-40B4-BE49-F238E27FC236}">
                <a16:creationId xmlns:a16="http://schemas.microsoft.com/office/drawing/2014/main" id="{12D0AD5D-D0FA-53B0-BC84-024F1869576E}"/>
              </a:ext>
            </a:extLst>
          </p:cNvPr>
          <p:cNvSpPr txBox="1"/>
          <p:nvPr/>
        </p:nvSpPr>
        <p:spPr>
          <a:xfrm>
            <a:off x="9070816" y="2985890"/>
            <a:ext cx="2457560" cy="5436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osfor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ectra, Refract and Lumin</a:t>
            </a:r>
          </a:p>
        </p:txBody>
      </p:sp>
      <p:pic>
        <p:nvPicPr>
          <p:cNvPr id="1051" name="Picture 1050">
            <a:extLst>
              <a:ext uri="{FF2B5EF4-FFF2-40B4-BE49-F238E27FC236}">
                <a16:creationId xmlns:a16="http://schemas.microsoft.com/office/drawing/2014/main" id="{BB094B8C-CAC2-72C0-0369-DE14514DAFF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9113253" y="3801538"/>
            <a:ext cx="2580173" cy="57500"/>
          </a:xfrm>
          <a:prstGeom prst="rect">
            <a:avLst/>
          </a:prstGeom>
        </p:spPr>
      </p:pic>
      <p:pic>
        <p:nvPicPr>
          <p:cNvPr id="1052" name="Picture 1051">
            <a:extLst>
              <a:ext uri="{FF2B5EF4-FFF2-40B4-BE49-F238E27FC236}">
                <a16:creationId xmlns:a16="http://schemas.microsoft.com/office/drawing/2014/main" id="{E166481D-8640-9449-5D29-B99D6F831B50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E7E6E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9057234" y="4825308"/>
            <a:ext cx="2580173" cy="57500"/>
          </a:xfrm>
          <a:prstGeom prst="rect">
            <a:avLst/>
          </a:prstGeom>
        </p:spPr>
      </p:pic>
      <p:sp>
        <p:nvSpPr>
          <p:cNvPr id="1053" name="TextBox 1052">
            <a:extLst>
              <a:ext uri="{FF2B5EF4-FFF2-40B4-BE49-F238E27FC236}">
                <a16:creationId xmlns:a16="http://schemas.microsoft.com/office/drawing/2014/main" id="{0A1AB5FB-E652-F71F-5354-813DB495559D}"/>
              </a:ext>
            </a:extLst>
          </p:cNvPr>
          <p:cNvSpPr txBox="1"/>
          <p:nvPr/>
        </p:nvSpPr>
        <p:spPr>
          <a:xfrm>
            <a:off x="9094004" y="5076673"/>
            <a:ext cx="2457560" cy="53694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chnology Platforms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anvas, Canvas.AI, Infinity</a:t>
            </a:r>
          </a:p>
        </p:txBody>
      </p:sp>
      <p:sp>
        <p:nvSpPr>
          <p:cNvPr id="1054" name="TextBox 1053">
            <a:extLst>
              <a:ext uri="{FF2B5EF4-FFF2-40B4-BE49-F238E27FC236}">
                <a16:creationId xmlns:a16="http://schemas.microsoft.com/office/drawing/2014/main" id="{81D8FC84-3640-6B86-A5DA-942121EE1112}"/>
              </a:ext>
            </a:extLst>
          </p:cNvPr>
          <p:cNvSpPr txBox="1"/>
          <p:nvPr/>
        </p:nvSpPr>
        <p:spPr>
          <a:xfrm>
            <a:off x="9197945" y="4017869"/>
            <a:ext cx="2457560" cy="7745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dustry Solutions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inancial Wellbeing, Money in Motion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martPA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MT2</a:t>
            </a:r>
          </a:p>
        </p:txBody>
      </p:sp>
      <p:pic>
        <p:nvPicPr>
          <p:cNvPr id="1055" name="Picture 1054">
            <a:extLst>
              <a:ext uri="{FF2B5EF4-FFF2-40B4-BE49-F238E27FC236}">
                <a16:creationId xmlns:a16="http://schemas.microsoft.com/office/drawing/2014/main" id="{0751C5D9-A1EB-3741-5E3E-95544F81AFA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4457" y="1268440"/>
            <a:ext cx="276067" cy="27606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80B2EC-DD81-2744-535A-4D4E46244DA3}"/>
              </a:ext>
            </a:extLst>
          </p:cNvPr>
          <p:cNvSpPr txBox="1"/>
          <p:nvPr/>
        </p:nvSpPr>
        <p:spPr>
          <a:xfrm>
            <a:off x="640436" y="5014756"/>
            <a:ext cx="2457560" cy="761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isk &amp; Compliance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YC, AML, Fraud Monitoring &amp; Regulatory Compliance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ABED3A-6C78-E4FD-EC5D-8B3FAAEA8F50}"/>
              </a:ext>
            </a:extLst>
          </p:cNvPr>
          <p:cNvSpPr/>
          <p:nvPr/>
        </p:nvSpPr>
        <p:spPr>
          <a:xfrm>
            <a:off x="526715" y="2723323"/>
            <a:ext cx="2658157" cy="113571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41998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116E6-EC53-0596-EF59-44DC4CC57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Our Payments &amp; Cards Practice</a:t>
            </a:r>
          </a:p>
        </p:txBody>
      </p:sp>
    </p:spTree>
    <p:extLst>
      <p:ext uri="{BB962C8B-B14F-4D97-AF65-F5344CB8AC3E}">
        <p14:creationId xmlns:p14="http://schemas.microsoft.com/office/powerpoint/2010/main" val="21983214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409F408-B30C-0A88-1DC5-F4B734DC2647}"/>
              </a:ext>
            </a:extLst>
          </p:cNvPr>
          <p:cNvSpPr/>
          <p:nvPr/>
        </p:nvSpPr>
        <p:spPr>
          <a:xfrm>
            <a:off x="0" y="5621981"/>
            <a:ext cx="12192000" cy="712793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bold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53F13B1-DB88-9557-B0D4-A87337CEABEF}"/>
              </a:ext>
            </a:extLst>
          </p:cNvPr>
          <p:cNvGrpSpPr/>
          <p:nvPr/>
        </p:nvGrpSpPr>
        <p:grpSpPr>
          <a:xfrm>
            <a:off x="387313" y="1136342"/>
            <a:ext cx="2167170" cy="1367212"/>
            <a:chOff x="429905" y="641824"/>
            <a:chExt cx="2167170" cy="1401172"/>
          </a:xfrm>
        </p:grpSpPr>
        <p:sp>
          <p:nvSpPr>
            <p:cNvPr id="22" name="Rectangle: Rounded Corners 189">
              <a:extLst>
                <a:ext uri="{FF2B5EF4-FFF2-40B4-BE49-F238E27FC236}">
                  <a16:creationId xmlns:a16="http://schemas.microsoft.com/office/drawing/2014/main" id="{422BFB17-56E7-BDF3-3DCE-499B7B7A11D4}"/>
                </a:ext>
              </a:extLst>
            </p:cNvPr>
            <p:cNvSpPr/>
            <p:nvPr/>
          </p:nvSpPr>
          <p:spPr>
            <a:xfrm rot="10800000" flipH="1" flipV="1">
              <a:off x="429906" y="884261"/>
              <a:ext cx="2167169" cy="1158735"/>
            </a:xfrm>
            <a:prstGeom prst="roundRect">
              <a:avLst>
                <a:gd name="adj" fmla="val 5969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52400" dist="38100" dir="5400000" algn="t" rotWithShape="0">
                <a:srgbClr val="5B9BD5">
                  <a:lumMod val="40000"/>
                  <a:lumOff val="60000"/>
                  <a:alpha val="39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bold"/>
                <a:ea typeface="+mn-ea"/>
                <a:cs typeface="+mn-cs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0D30B92-A894-DDA9-E80E-B437CFD264B8}"/>
                </a:ext>
              </a:extLst>
            </p:cNvPr>
            <p:cNvGrpSpPr/>
            <p:nvPr/>
          </p:nvGrpSpPr>
          <p:grpSpPr>
            <a:xfrm>
              <a:off x="1199873" y="641824"/>
              <a:ext cx="627234" cy="627231"/>
              <a:chOff x="5829301" y="822235"/>
              <a:chExt cx="533400" cy="533398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03CCC60D-A730-87B9-3092-DBEFCB2A1B4F}"/>
                  </a:ext>
                </a:extLst>
              </p:cNvPr>
              <p:cNvSpPr/>
              <p:nvPr/>
            </p:nvSpPr>
            <p:spPr>
              <a:xfrm>
                <a:off x="5829301" y="822235"/>
                <a:ext cx="533400" cy="533398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6FACDE"/>
                </a:solidFill>
                <a:prstDash val="solid"/>
                <a:miter lim="800000"/>
              </a:ln>
              <a:effectLst>
                <a:outerShdw blurRad="203200" dist="38100" dir="5400000" algn="t" rotWithShape="0">
                  <a:srgbClr val="5B9BD5">
                    <a:lumMod val="40000"/>
                    <a:lumOff val="60000"/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endParaRP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4C6ECB56-787D-B8E5-3E0C-EB16764F1E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42261" y="934041"/>
                <a:ext cx="307478" cy="307479"/>
              </a:xfrm>
              <a:prstGeom prst="rect">
                <a:avLst/>
              </a:prstGeom>
            </p:spPr>
          </p:pic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195A292-0AC1-B0BC-BA55-12F16893A82B}"/>
                </a:ext>
              </a:extLst>
            </p:cNvPr>
            <p:cNvSpPr txBox="1"/>
            <p:nvPr/>
          </p:nvSpPr>
          <p:spPr>
            <a:xfrm>
              <a:off x="429905" y="1617051"/>
              <a:ext cx="2167170" cy="38978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377" rtl="0" eaLnBrk="1" fontAlgn="base" latinLnBrk="0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bold"/>
                  <a:ea typeface="Calibri" panose="020F0502020204030204" pitchFamily="34" charset="0"/>
                  <a:cs typeface="Calibri" panose="020F0502020204030204" pitchFamily="34" charset="0"/>
                </a:rPr>
                <a:t>FTEs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49ED846-847D-5980-C058-833B95B3F69B}"/>
                </a:ext>
              </a:extLst>
            </p:cNvPr>
            <p:cNvCxnSpPr>
              <a:cxnSpLocks/>
            </p:cNvCxnSpPr>
            <p:nvPr/>
          </p:nvCxnSpPr>
          <p:spPr>
            <a:xfrm>
              <a:off x="574030" y="1687695"/>
              <a:ext cx="1878921" cy="0"/>
            </a:xfrm>
            <a:prstGeom prst="line">
              <a:avLst/>
            </a:prstGeom>
            <a:noFill/>
            <a:ln w="12700" cap="flat" cmpd="sng" algn="ctr">
              <a:solidFill>
                <a:srgbClr val="6FACDE"/>
              </a:solidFill>
              <a:prstDash val="solid"/>
              <a:miter lim="800000"/>
            </a:ln>
            <a:effectLst/>
          </p:spPr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F8629B4-00BA-547C-C7BB-D2A2758126C1}"/>
                </a:ext>
              </a:extLst>
            </p:cNvPr>
            <p:cNvSpPr txBox="1"/>
            <p:nvPr/>
          </p:nvSpPr>
          <p:spPr>
            <a:xfrm>
              <a:off x="750373" y="1224472"/>
              <a:ext cx="1526235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rgbClr val="00457C"/>
                  </a:solidFill>
                  <a:latin typeface="+mj-lt"/>
                </a:defRPr>
              </a:lvl1pPr>
            </a:lstStyle>
            <a:p>
              <a:pPr marL="0" marR="0" lvl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>
                  <a:ln>
                    <a:noFill/>
                  </a:ln>
                  <a:solidFill>
                    <a:srgbClr val="055297"/>
                  </a:solidFill>
                  <a:effectLst/>
                  <a:uLnTx/>
                  <a:uFillTx/>
                  <a:latin typeface="Frutiger 45 bold"/>
                  <a:ea typeface="Calibri" panose="020F0502020204030204" pitchFamily="34" charset="0"/>
                  <a:cs typeface="Calibri" panose="020F0502020204030204" pitchFamily="34" charset="0"/>
                </a:rPr>
                <a:t>4500+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80E836C-69BC-D8A6-D6EF-4BCC7111B693}"/>
              </a:ext>
            </a:extLst>
          </p:cNvPr>
          <p:cNvGrpSpPr/>
          <p:nvPr/>
        </p:nvGrpSpPr>
        <p:grpSpPr>
          <a:xfrm>
            <a:off x="2678568" y="1136342"/>
            <a:ext cx="2167170" cy="1367212"/>
            <a:chOff x="2721160" y="641824"/>
            <a:chExt cx="2167170" cy="1401172"/>
          </a:xfrm>
        </p:grpSpPr>
        <p:sp>
          <p:nvSpPr>
            <p:cNvPr id="30" name="Rectangle: Rounded Corners 189">
              <a:extLst>
                <a:ext uri="{FF2B5EF4-FFF2-40B4-BE49-F238E27FC236}">
                  <a16:creationId xmlns:a16="http://schemas.microsoft.com/office/drawing/2014/main" id="{BF67423B-966D-0EC8-9EF8-82B51DEB3BBF}"/>
                </a:ext>
              </a:extLst>
            </p:cNvPr>
            <p:cNvSpPr/>
            <p:nvPr/>
          </p:nvSpPr>
          <p:spPr>
            <a:xfrm rot="10800000" flipH="1" flipV="1">
              <a:off x="2721161" y="884261"/>
              <a:ext cx="2167169" cy="1158735"/>
            </a:xfrm>
            <a:prstGeom prst="roundRect">
              <a:avLst>
                <a:gd name="adj" fmla="val 5969"/>
              </a:avLst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bold"/>
                <a:ea typeface="+mn-ea"/>
                <a:cs typeface="Calibri Light" panose="020F0302020204030204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9310F69-AF6C-AE29-46AE-4C36069769C2}"/>
                </a:ext>
              </a:extLst>
            </p:cNvPr>
            <p:cNvGrpSpPr/>
            <p:nvPr/>
          </p:nvGrpSpPr>
          <p:grpSpPr>
            <a:xfrm>
              <a:off x="3491128" y="641824"/>
              <a:ext cx="627234" cy="627231"/>
              <a:chOff x="5829301" y="822235"/>
              <a:chExt cx="533400" cy="533398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D406C31B-5922-7D41-43B1-1F71FB173C37}"/>
                  </a:ext>
                </a:extLst>
              </p:cNvPr>
              <p:cNvSpPr/>
              <p:nvPr/>
            </p:nvSpPr>
            <p:spPr>
              <a:xfrm>
                <a:off x="5829301" y="822235"/>
                <a:ext cx="533400" cy="533398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6FACDE"/>
                </a:solidFill>
                <a:prstDash val="solid"/>
                <a:miter lim="800000"/>
              </a:ln>
              <a:effectLst>
                <a:outerShdw blurRad="203200" dist="38100" dir="5400000" algn="t" rotWithShape="0">
                  <a:srgbClr val="5B9BD5">
                    <a:lumMod val="40000"/>
                    <a:lumOff val="60000"/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endParaRPr>
              </a:p>
            </p:txBody>
          </p:sp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5E92376B-DA5C-AFD8-F27D-B58044FD22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42261" y="934041"/>
                <a:ext cx="307478" cy="307479"/>
              </a:xfrm>
              <a:prstGeom prst="rect">
                <a:avLst/>
              </a:prstGeom>
            </p:spPr>
          </p:pic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C901D1D-5D96-9BEC-8D0D-7C1A991F0FE0}"/>
                </a:ext>
              </a:extLst>
            </p:cNvPr>
            <p:cNvSpPr txBox="1"/>
            <p:nvPr/>
          </p:nvSpPr>
          <p:spPr>
            <a:xfrm>
              <a:off x="2721160" y="1617051"/>
              <a:ext cx="2167170" cy="38978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377" rtl="0" eaLnBrk="1" fontAlgn="base" latinLnBrk="0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bold"/>
                  <a:ea typeface="Calibri" panose="020F0502020204030204" pitchFamily="34" charset="0"/>
                  <a:cs typeface="Calibri" panose="020F0502020204030204" pitchFamily="34" charset="0"/>
                </a:rPr>
                <a:t>Marquee Clients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4DD67B5F-7D6E-F2C2-BBA1-A6C6E27BA3CC}"/>
                </a:ext>
              </a:extLst>
            </p:cNvPr>
            <p:cNvCxnSpPr>
              <a:cxnSpLocks/>
            </p:cNvCxnSpPr>
            <p:nvPr/>
          </p:nvCxnSpPr>
          <p:spPr>
            <a:xfrm>
              <a:off x="2865285" y="1687695"/>
              <a:ext cx="1878921" cy="0"/>
            </a:xfrm>
            <a:prstGeom prst="line">
              <a:avLst/>
            </a:prstGeom>
            <a:noFill/>
            <a:ln w="12700" cap="flat" cmpd="sng" algn="ctr">
              <a:solidFill>
                <a:srgbClr val="6FACDE"/>
              </a:solidFill>
              <a:prstDash val="solid"/>
              <a:miter lim="800000"/>
            </a:ln>
            <a:effectLst/>
          </p:spPr>
        </p:cxn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2F5733C7-E10C-9D42-3477-4171E6791207}"/>
                </a:ext>
              </a:extLst>
            </p:cNvPr>
            <p:cNvSpPr txBox="1"/>
            <p:nvPr/>
          </p:nvSpPr>
          <p:spPr>
            <a:xfrm>
              <a:off x="3041628" y="1224472"/>
              <a:ext cx="1526235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rgbClr val="00457C"/>
                  </a:solidFill>
                  <a:latin typeface="+mj-lt"/>
                </a:defRPr>
              </a:lvl1pPr>
            </a:lstStyle>
            <a:p>
              <a:pPr marL="0" marR="0" lvl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>
                  <a:ln>
                    <a:noFill/>
                  </a:ln>
                  <a:solidFill>
                    <a:srgbClr val="055297"/>
                  </a:solidFill>
                  <a:effectLst/>
                  <a:uLnTx/>
                  <a:uFillTx/>
                  <a:latin typeface="Frutiger 45 bold"/>
                  <a:ea typeface="Calibri" panose="020F0502020204030204" pitchFamily="34" charset="0"/>
                  <a:cs typeface="Calibri" panose="020F0502020204030204" pitchFamily="34" charset="0"/>
                </a:rPr>
                <a:t>50+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23FB5C7-C1AA-F811-9CA2-8C20FDF54B85}"/>
              </a:ext>
            </a:extLst>
          </p:cNvPr>
          <p:cNvGrpSpPr/>
          <p:nvPr/>
        </p:nvGrpSpPr>
        <p:grpSpPr>
          <a:xfrm>
            <a:off x="4969823" y="1136342"/>
            <a:ext cx="2167170" cy="1367212"/>
            <a:chOff x="5012415" y="641824"/>
            <a:chExt cx="2167170" cy="1401172"/>
          </a:xfrm>
        </p:grpSpPr>
        <p:sp>
          <p:nvSpPr>
            <p:cNvPr id="38" name="Rectangle: Rounded Corners 189">
              <a:extLst>
                <a:ext uri="{FF2B5EF4-FFF2-40B4-BE49-F238E27FC236}">
                  <a16:creationId xmlns:a16="http://schemas.microsoft.com/office/drawing/2014/main" id="{BDD3FED1-5316-EE91-7BD7-29A9FF9F6AEB}"/>
                </a:ext>
              </a:extLst>
            </p:cNvPr>
            <p:cNvSpPr/>
            <p:nvPr/>
          </p:nvSpPr>
          <p:spPr>
            <a:xfrm rot="10800000" flipH="1" flipV="1">
              <a:off x="5012416" y="884261"/>
              <a:ext cx="2167169" cy="1158735"/>
            </a:xfrm>
            <a:prstGeom prst="roundRect">
              <a:avLst>
                <a:gd name="adj" fmla="val 5969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52400" dist="38100" dir="5400000" algn="t" rotWithShape="0">
                <a:srgbClr val="5B9BD5">
                  <a:lumMod val="40000"/>
                  <a:lumOff val="60000"/>
                  <a:alpha val="39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bold"/>
                <a:ea typeface="+mn-ea"/>
                <a:cs typeface="+mn-cs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590BD5D-3B0F-D4EE-E933-477D944045F1}"/>
                </a:ext>
              </a:extLst>
            </p:cNvPr>
            <p:cNvGrpSpPr/>
            <p:nvPr/>
          </p:nvGrpSpPr>
          <p:grpSpPr>
            <a:xfrm>
              <a:off x="5782383" y="641824"/>
              <a:ext cx="627234" cy="627231"/>
              <a:chOff x="5829301" y="822235"/>
              <a:chExt cx="533400" cy="533398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17C4FE44-6DA4-9FF0-DD57-D58AE8BACA0D}"/>
                  </a:ext>
                </a:extLst>
              </p:cNvPr>
              <p:cNvSpPr/>
              <p:nvPr/>
            </p:nvSpPr>
            <p:spPr>
              <a:xfrm>
                <a:off x="5829301" y="822235"/>
                <a:ext cx="533400" cy="533398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6FACDE"/>
                </a:solidFill>
                <a:prstDash val="solid"/>
                <a:miter lim="800000"/>
              </a:ln>
              <a:effectLst>
                <a:outerShdw blurRad="203200" dist="38100" dir="5400000" algn="t" rotWithShape="0">
                  <a:srgbClr val="5B9BD5">
                    <a:lumMod val="40000"/>
                    <a:lumOff val="60000"/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endParaRPr>
              </a:p>
            </p:txBody>
          </p: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84457723-BC6D-8EA3-133B-FB62D97730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42261" y="934041"/>
                <a:ext cx="307478" cy="307479"/>
              </a:xfrm>
              <a:prstGeom prst="rect">
                <a:avLst/>
              </a:prstGeom>
            </p:spPr>
          </p:pic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77A7EC5-D0A5-E582-FA97-CF921AE97329}"/>
                </a:ext>
              </a:extLst>
            </p:cNvPr>
            <p:cNvSpPr txBox="1"/>
            <p:nvPr/>
          </p:nvSpPr>
          <p:spPr>
            <a:xfrm>
              <a:off x="5012415" y="1617051"/>
              <a:ext cx="2167170" cy="38978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377" rtl="0" eaLnBrk="1" fontAlgn="base" latinLnBrk="0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bold"/>
                  <a:ea typeface="Calibri" panose="020F0502020204030204" pitchFamily="34" charset="0"/>
                  <a:cs typeface="Calibri" panose="020F0502020204030204" pitchFamily="34" charset="0"/>
                </a:rPr>
                <a:t>Countries Supported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D67C1C12-BD76-3D47-07B9-3FE0BDB80583}"/>
                </a:ext>
              </a:extLst>
            </p:cNvPr>
            <p:cNvCxnSpPr>
              <a:cxnSpLocks/>
            </p:cNvCxnSpPr>
            <p:nvPr/>
          </p:nvCxnSpPr>
          <p:spPr>
            <a:xfrm>
              <a:off x="5156540" y="1687695"/>
              <a:ext cx="1878921" cy="0"/>
            </a:xfrm>
            <a:prstGeom prst="line">
              <a:avLst/>
            </a:prstGeom>
            <a:noFill/>
            <a:ln w="12700" cap="flat" cmpd="sng" algn="ctr">
              <a:solidFill>
                <a:srgbClr val="6FACDE"/>
              </a:solidFill>
              <a:prstDash val="solid"/>
              <a:miter lim="800000"/>
            </a:ln>
            <a:effectLst/>
          </p:spPr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A793A21-5670-FD2D-98B3-A81099D970A6}"/>
                </a:ext>
              </a:extLst>
            </p:cNvPr>
            <p:cNvSpPr txBox="1"/>
            <p:nvPr/>
          </p:nvSpPr>
          <p:spPr>
            <a:xfrm>
              <a:off x="5332883" y="1224472"/>
              <a:ext cx="1526235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rgbClr val="00457C"/>
                  </a:solidFill>
                  <a:latin typeface="+mj-lt"/>
                </a:defRPr>
              </a:lvl1pPr>
            </a:lstStyle>
            <a:p>
              <a:pPr marL="0" marR="0" lvl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>
                  <a:ln>
                    <a:noFill/>
                  </a:ln>
                  <a:solidFill>
                    <a:srgbClr val="055297"/>
                  </a:solidFill>
                  <a:effectLst/>
                  <a:uLnTx/>
                  <a:uFillTx/>
                  <a:latin typeface="Frutiger 45 bold"/>
                  <a:ea typeface="Calibri" panose="020F0502020204030204" pitchFamily="34" charset="0"/>
                  <a:cs typeface="Calibri" panose="020F0502020204030204" pitchFamily="34" charset="0"/>
                </a:rPr>
                <a:t>70+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801975E-42CB-9524-B700-B2E7BCB37D12}"/>
              </a:ext>
            </a:extLst>
          </p:cNvPr>
          <p:cNvGrpSpPr/>
          <p:nvPr/>
        </p:nvGrpSpPr>
        <p:grpSpPr>
          <a:xfrm>
            <a:off x="7261078" y="1136342"/>
            <a:ext cx="2167170" cy="1367212"/>
            <a:chOff x="7303670" y="641824"/>
            <a:chExt cx="2167170" cy="1401172"/>
          </a:xfrm>
        </p:grpSpPr>
        <p:sp>
          <p:nvSpPr>
            <p:cNvPr id="46" name="Rectangle: Rounded Corners 189">
              <a:extLst>
                <a:ext uri="{FF2B5EF4-FFF2-40B4-BE49-F238E27FC236}">
                  <a16:creationId xmlns:a16="http://schemas.microsoft.com/office/drawing/2014/main" id="{F127CCB6-01AC-29D5-662D-A348BE8DFE25}"/>
                </a:ext>
              </a:extLst>
            </p:cNvPr>
            <p:cNvSpPr/>
            <p:nvPr/>
          </p:nvSpPr>
          <p:spPr>
            <a:xfrm rot="10800000" flipH="1" flipV="1">
              <a:off x="7303671" y="884261"/>
              <a:ext cx="2167169" cy="1158735"/>
            </a:xfrm>
            <a:prstGeom prst="roundRect">
              <a:avLst>
                <a:gd name="adj" fmla="val 5969"/>
              </a:avLst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bold"/>
                <a:ea typeface="+mn-ea"/>
                <a:cs typeface="Calibri Light" panose="020F0302020204030204" pitchFamily="34" charset="0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FB47A88C-288F-12A7-6348-DBC49E68CCDC}"/>
                </a:ext>
              </a:extLst>
            </p:cNvPr>
            <p:cNvGrpSpPr/>
            <p:nvPr/>
          </p:nvGrpSpPr>
          <p:grpSpPr>
            <a:xfrm>
              <a:off x="8073638" y="641824"/>
              <a:ext cx="627234" cy="627231"/>
              <a:chOff x="5829301" y="822235"/>
              <a:chExt cx="533400" cy="533398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62CE2461-C097-3B3D-4E00-C652877FB907}"/>
                  </a:ext>
                </a:extLst>
              </p:cNvPr>
              <p:cNvSpPr/>
              <p:nvPr/>
            </p:nvSpPr>
            <p:spPr>
              <a:xfrm>
                <a:off x="5829301" y="822235"/>
                <a:ext cx="533400" cy="533398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6FACDE"/>
                </a:solidFill>
                <a:prstDash val="solid"/>
                <a:miter lim="800000"/>
              </a:ln>
              <a:effectLst>
                <a:outerShdw blurRad="203200" dist="38100" dir="5400000" algn="t" rotWithShape="0">
                  <a:srgbClr val="5B9BD5">
                    <a:lumMod val="40000"/>
                    <a:lumOff val="60000"/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endParaRPr>
              </a:p>
            </p:txBody>
          </p:sp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3F84679F-79CC-9236-2F9F-657525FE03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42261" y="934041"/>
                <a:ext cx="307478" cy="307479"/>
              </a:xfrm>
              <a:prstGeom prst="rect">
                <a:avLst/>
              </a:prstGeom>
            </p:spPr>
          </p:pic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D5B7168-B061-CEBF-AD9F-30B9321E74EF}"/>
                </a:ext>
              </a:extLst>
            </p:cNvPr>
            <p:cNvSpPr txBox="1"/>
            <p:nvPr/>
          </p:nvSpPr>
          <p:spPr>
            <a:xfrm>
              <a:off x="7303670" y="1617051"/>
              <a:ext cx="2167170" cy="38978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377" rtl="0" eaLnBrk="1" fontAlgn="base" latinLnBrk="0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bold"/>
                  <a:ea typeface="Calibri" panose="020F0502020204030204" pitchFamily="34" charset="0"/>
                  <a:cs typeface="Calibri" panose="020F0502020204030204" pitchFamily="34" charset="0"/>
                </a:rPr>
                <a:t>YoY Growth</a:t>
              </a:r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ABC38DFE-67E6-5D2E-628A-3226071B11E6}"/>
                </a:ext>
              </a:extLst>
            </p:cNvPr>
            <p:cNvCxnSpPr>
              <a:cxnSpLocks/>
            </p:cNvCxnSpPr>
            <p:nvPr/>
          </p:nvCxnSpPr>
          <p:spPr>
            <a:xfrm>
              <a:off x="7447795" y="1687695"/>
              <a:ext cx="1878921" cy="0"/>
            </a:xfrm>
            <a:prstGeom prst="line">
              <a:avLst/>
            </a:prstGeom>
            <a:noFill/>
            <a:ln w="12700" cap="flat" cmpd="sng" algn="ctr">
              <a:solidFill>
                <a:srgbClr val="6FACDE"/>
              </a:solidFill>
              <a:prstDash val="solid"/>
              <a:miter lim="800000"/>
            </a:ln>
            <a:effectLst/>
          </p:spPr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CE8BF7F-5677-9E63-F737-15F38CF07E2F}"/>
                </a:ext>
              </a:extLst>
            </p:cNvPr>
            <p:cNvSpPr txBox="1"/>
            <p:nvPr/>
          </p:nvSpPr>
          <p:spPr>
            <a:xfrm>
              <a:off x="7624138" y="1224472"/>
              <a:ext cx="1526235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rgbClr val="00457C"/>
                  </a:solidFill>
                  <a:latin typeface="+mj-lt"/>
                </a:defRPr>
              </a:lvl1pPr>
            </a:lstStyle>
            <a:p>
              <a:pPr marL="0" marR="0" lvl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>
                  <a:ln>
                    <a:noFill/>
                  </a:ln>
                  <a:solidFill>
                    <a:srgbClr val="055297"/>
                  </a:solidFill>
                  <a:effectLst/>
                  <a:uLnTx/>
                  <a:uFillTx/>
                  <a:latin typeface="Frutiger 45 bold"/>
                  <a:ea typeface="Calibri" panose="020F0502020204030204" pitchFamily="34" charset="0"/>
                  <a:cs typeface="Calibri" panose="020F0502020204030204" pitchFamily="34" charset="0"/>
                </a:rPr>
                <a:t>30%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25600B8-6A4B-3E39-C7B0-9B8B311A26B4}"/>
              </a:ext>
            </a:extLst>
          </p:cNvPr>
          <p:cNvGrpSpPr/>
          <p:nvPr/>
        </p:nvGrpSpPr>
        <p:grpSpPr>
          <a:xfrm>
            <a:off x="9552333" y="1136342"/>
            <a:ext cx="2291256" cy="1367212"/>
            <a:chOff x="9594925" y="641824"/>
            <a:chExt cx="2291256" cy="1401172"/>
          </a:xfrm>
        </p:grpSpPr>
        <p:sp>
          <p:nvSpPr>
            <p:cNvPr id="54" name="Rectangle: Rounded Corners 189">
              <a:extLst>
                <a:ext uri="{FF2B5EF4-FFF2-40B4-BE49-F238E27FC236}">
                  <a16:creationId xmlns:a16="http://schemas.microsoft.com/office/drawing/2014/main" id="{B65F79C5-B459-067B-A15E-DF5F64F9855B}"/>
                </a:ext>
              </a:extLst>
            </p:cNvPr>
            <p:cNvSpPr/>
            <p:nvPr/>
          </p:nvSpPr>
          <p:spPr>
            <a:xfrm rot="10800000" flipH="1" flipV="1">
              <a:off x="9594926" y="884261"/>
              <a:ext cx="2167169" cy="1158735"/>
            </a:xfrm>
            <a:prstGeom prst="roundRect">
              <a:avLst>
                <a:gd name="adj" fmla="val 5969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52400" dist="38100" dir="5400000" algn="t" rotWithShape="0">
                <a:srgbClr val="5B9BD5">
                  <a:lumMod val="40000"/>
                  <a:lumOff val="60000"/>
                  <a:alpha val="39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bold"/>
                <a:ea typeface="+mn-ea"/>
                <a:cs typeface="+mn-cs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F285474C-51F1-AF6D-EB7B-9D4502DEADF3}"/>
                </a:ext>
              </a:extLst>
            </p:cNvPr>
            <p:cNvGrpSpPr/>
            <p:nvPr/>
          </p:nvGrpSpPr>
          <p:grpSpPr>
            <a:xfrm>
              <a:off x="10364893" y="641824"/>
              <a:ext cx="627234" cy="627231"/>
              <a:chOff x="5829301" y="822235"/>
              <a:chExt cx="533400" cy="533398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12A726CF-DD79-BD7B-FEBF-F982EB23B3B3}"/>
                  </a:ext>
                </a:extLst>
              </p:cNvPr>
              <p:cNvSpPr/>
              <p:nvPr/>
            </p:nvSpPr>
            <p:spPr>
              <a:xfrm>
                <a:off x="5829301" y="822235"/>
                <a:ext cx="533400" cy="533398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6FACDE"/>
                </a:solidFill>
                <a:prstDash val="solid"/>
                <a:miter lim="800000"/>
              </a:ln>
              <a:effectLst>
                <a:outerShdw blurRad="203200" dist="38100" dir="5400000" algn="t" rotWithShape="0">
                  <a:srgbClr val="5B9BD5">
                    <a:lumMod val="40000"/>
                    <a:lumOff val="60000"/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45 bold"/>
                  <a:ea typeface="+mn-ea"/>
                  <a:cs typeface="+mn-cs"/>
                </a:endParaRPr>
              </a:p>
            </p:txBody>
          </p:sp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1D505A19-8FEF-13A8-F0F1-950C57E2E1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42261" y="934041"/>
                <a:ext cx="307478" cy="307479"/>
              </a:xfrm>
              <a:prstGeom prst="rect">
                <a:avLst/>
              </a:prstGeom>
            </p:spPr>
          </p:pic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124424F-4D77-BC82-6B73-B57406747ACB}"/>
                </a:ext>
              </a:extLst>
            </p:cNvPr>
            <p:cNvSpPr txBox="1"/>
            <p:nvPr/>
          </p:nvSpPr>
          <p:spPr>
            <a:xfrm>
              <a:off x="9594925" y="1613686"/>
              <a:ext cx="2291256" cy="39651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377" rtl="0" eaLnBrk="1" fontAlgn="base" latinLnBrk="0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bold"/>
                  <a:ea typeface="Calibri" panose="020F0502020204030204" pitchFamily="34" charset="0"/>
                  <a:cs typeface="Calibri" panose="020F0502020204030204" pitchFamily="34" charset="0"/>
                </a:rPr>
                <a:t>Digital Services Revenue</a:t>
              </a: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52FB0D09-9F68-F7ED-A2BE-9876A325B6F8}"/>
                </a:ext>
              </a:extLst>
            </p:cNvPr>
            <p:cNvCxnSpPr>
              <a:cxnSpLocks/>
            </p:cNvCxnSpPr>
            <p:nvPr/>
          </p:nvCxnSpPr>
          <p:spPr>
            <a:xfrm>
              <a:off x="9739050" y="1687695"/>
              <a:ext cx="1878921" cy="0"/>
            </a:xfrm>
            <a:prstGeom prst="line">
              <a:avLst/>
            </a:prstGeom>
            <a:noFill/>
            <a:ln w="12700" cap="flat" cmpd="sng" algn="ctr">
              <a:solidFill>
                <a:srgbClr val="6FACDE"/>
              </a:solidFill>
              <a:prstDash val="solid"/>
              <a:miter lim="800000"/>
            </a:ln>
            <a:effectLst/>
          </p:spPr>
        </p:cxn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69080EE1-44E4-74BA-C6BC-375C323B1C09}"/>
                </a:ext>
              </a:extLst>
            </p:cNvPr>
            <p:cNvSpPr txBox="1"/>
            <p:nvPr/>
          </p:nvSpPr>
          <p:spPr>
            <a:xfrm>
              <a:off x="9915393" y="1224472"/>
              <a:ext cx="1526235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rgbClr val="00457C"/>
                  </a:solidFill>
                  <a:latin typeface="+mj-lt"/>
                </a:defRPr>
              </a:lvl1pPr>
            </a:lstStyle>
            <a:p>
              <a:pPr marL="0" marR="0" lvl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>
                  <a:ln>
                    <a:noFill/>
                  </a:ln>
                  <a:solidFill>
                    <a:srgbClr val="055297"/>
                  </a:solidFill>
                  <a:effectLst/>
                  <a:uLnTx/>
                  <a:uFillTx/>
                  <a:latin typeface="Frutiger 45 bold"/>
                  <a:ea typeface="Calibri" panose="020F0502020204030204" pitchFamily="34" charset="0"/>
                  <a:cs typeface="Calibri" panose="020F0502020204030204" pitchFamily="34" charset="0"/>
                </a:rPr>
                <a:t>55%</a:t>
              </a:r>
            </a:p>
          </p:txBody>
        </p:sp>
      </p:grpSp>
      <p:pic>
        <p:nvPicPr>
          <p:cNvPr id="61" name="Picture 60">
            <a:extLst>
              <a:ext uri="{FF2B5EF4-FFF2-40B4-BE49-F238E27FC236}">
                <a16:creationId xmlns:a16="http://schemas.microsoft.com/office/drawing/2014/main" id="{CCABEA15-3FC0-681D-A973-24EF76C5C415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9265" y="2681763"/>
            <a:ext cx="1894669" cy="1385163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63E0F8D-9EEF-B1C8-6C1D-D01A68269A98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2420" y="2884224"/>
            <a:ext cx="1783129" cy="1185033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02017CBE-5CEA-922E-B443-02896BD38385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0546" y="2916127"/>
            <a:ext cx="1771380" cy="1150799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490B78C4-F004-5A11-9436-CDBD0BA95060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6102" y="3187811"/>
            <a:ext cx="1763950" cy="879115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A8B9EC2F-8833-5D13-EF79-2E62EAFF03D8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9223" y="2881894"/>
            <a:ext cx="1792700" cy="1185033"/>
          </a:xfrm>
          <a:prstGeom prst="rect">
            <a:avLst/>
          </a:prstGeom>
        </p:spPr>
      </p:pic>
      <p:pic>
        <p:nvPicPr>
          <p:cNvPr id="66" name="btfpPhotoGeneric418070">
            <a:extLst>
              <a:ext uri="{FF2B5EF4-FFF2-40B4-BE49-F238E27FC236}">
                <a16:creationId xmlns:a16="http://schemas.microsoft.com/office/drawing/2014/main" id="{9040F389-45FD-645A-AB84-EE7FF98B3F3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83879" y="2666100"/>
            <a:ext cx="1787379" cy="1400826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B66A1286-8DF9-EFBF-D931-0A16F32C107E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384668" y="2660174"/>
            <a:ext cx="1789152" cy="575954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bold"/>
                <a:ea typeface="+mn-ea"/>
                <a:cs typeface="Arial"/>
              </a:rPr>
              <a:t>GLOBAL    BANK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9E1B2A3-675C-5517-86F5-6A53757ED4E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187259" y="2659863"/>
            <a:ext cx="1783129" cy="575853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bold"/>
                <a:ea typeface="+mn-ea"/>
                <a:cs typeface="Arial"/>
              </a:rPr>
              <a:t>CARD NETWORK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25B84C8-9231-C0AF-6402-BD2AC753AAFF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2293424" y="2660275"/>
            <a:ext cx="1780483" cy="575853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bold"/>
                <a:ea typeface="+mn-ea"/>
                <a:cs typeface="Arial"/>
              </a:rPr>
              <a:t>REGIONAL BANK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796DE5C-95CC-3E36-F91B-9DA4585350A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6075863" y="2648028"/>
            <a:ext cx="1792700" cy="58768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bold"/>
                <a:ea typeface="+mn-ea"/>
                <a:cs typeface="Arial"/>
              </a:rPr>
              <a:t>PAYMENT PROCESSORS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140E8149-336E-DB59-72DF-153CD9916A92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0009990" y="2643198"/>
            <a:ext cx="1792700" cy="587633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bold"/>
                <a:ea typeface="+mn-ea"/>
                <a:cs typeface="Arial"/>
              </a:rPr>
              <a:t>REGULATOR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EA1AEB5-327A-AE28-FD9E-A76636CDF427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7992910" y="2648082"/>
            <a:ext cx="1894670" cy="587633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bold"/>
                <a:ea typeface="+mn-ea"/>
                <a:cs typeface="Arial"/>
              </a:rPr>
              <a:t>PAYTECH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A851B48-4DE4-2207-452D-7390F043FE03}"/>
              </a:ext>
            </a:extLst>
          </p:cNvPr>
          <p:cNvGrpSpPr/>
          <p:nvPr/>
        </p:nvGrpSpPr>
        <p:grpSpPr>
          <a:xfrm>
            <a:off x="379816" y="4136512"/>
            <a:ext cx="1833040" cy="1361690"/>
            <a:chOff x="398153" y="3958258"/>
            <a:chExt cx="1833040" cy="1395513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0C31EF67-27D5-B710-6399-06F308CC13AA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398153" y="3958258"/>
              <a:ext cx="1791442" cy="139551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utiger 45 bold"/>
                <a:ea typeface="+mn-ea"/>
                <a:cs typeface="Arial"/>
              </a:endParaRPr>
            </a:p>
          </p:txBody>
        </p:sp>
        <p:pic>
          <p:nvPicPr>
            <p:cNvPr id="137" name="Picture 2">
              <a:extLst>
                <a:ext uri="{FF2B5EF4-FFF2-40B4-BE49-F238E27FC236}">
                  <a16:creationId xmlns:a16="http://schemas.microsoft.com/office/drawing/2014/main" id="{D04B673F-1927-1264-6FBE-374B84FE70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726" y="4132149"/>
              <a:ext cx="860153" cy="2406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BD0AC931-71B7-B490-02C4-4B14E09906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45891" y="4071025"/>
              <a:ext cx="484692" cy="281324"/>
            </a:xfrm>
            <a:prstGeom prst="rect">
              <a:avLst/>
            </a:prstGeom>
          </p:spPr>
        </p:pic>
        <p:pic>
          <p:nvPicPr>
            <p:cNvPr id="150" name="Picture 2" descr="Image result for standard chartered bank logo">
              <a:extLst>
                <a:ext uri="{FF2B5EF4-FFF2-40B4-BE49-F238E27FC236}">
                  <a16:creationId xmlns:a16="http://schemas.microsoft.com/office/drawing/2014/main" id="{2ECA5195-D66B-98CA-CE67-A85FDA90C0F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6878" y="4953023"/>
              <a:ext cx="860153" cy="3890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6" name="Picture 58" descr="JPMorgan Chase Logo, symbol, meaning, history, PNG, brand">
              <a:extLst>
                <a:ext uri="{FF2B5EF4-FFF2-40B4-BE49-F238E27FC236}">
                  <a16:creationId xmlns:a16="http://schemas.microsoft.com/office/drawing/2014/main" id="{0237A295-EC4E-1950-2E56-8998DF1BC2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8057" y="4767241"/>
              <a:ext cx="694350" cy="3739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3EBE237C-9793-4BFC-EFD8-05D1A6C7F0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9643" y="4119925"/>
              <a:ext cx="1791550" cy="871067"/>
            </a:xfrm>
            <a:prstGeom prst="rect">
              <a:avLst/>
            </a:prstGeom>
          </p:spPr>
        </p:pic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7545814B-75C2-C7C5-A08D-4EDC0AD80CC6}"/>
              </a:ext>
            </a:extLst>
          </p:cNvPr>
          <p:cNvGrpSpPr/>
          <p:nvPr/>
        </p:nvGrpSpPr>
        <p:grpSpPr>
          <a:xfrm>
            <a:off x="4195663" y="4136511"/>
            <a:ext cx="1766263" cy="1361690"/>
            <a:chOff x="4179040" y="3957471"/>
            <a:chExt cx="1766263" cy="1395513"/>
          </a:xfrm>
        </p:grpSpPr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F746EEE7-FF30-4C36-7071-58CEE58C134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4179040" y="3957471"/>
              <a:ext cx="1766263" cy="139551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1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utiger 45 bold"/>
                <a:ea typeface="+mn-ea"/>
                <a:cs typeface="Arial"/>
              </a:endParaRPr>
            </a:p>
          </p:txBody>
        </p:sp>
        <p:pic>
          <p:nvPicPr>
            <p:cNvPr id="165" name="Picture 14" descr="American Express - Wikipedia">
              <a:extLst>
                <a:ext uri="{FF2B5EF4-FFF2-40B4-BE49-F238E27FC236}">
                  <a16:creationId xmlns:a16="http://schemas.microsoft.com/office/drawing/2014/main" id="{1EEA865C-35B3-A83C-ACF5-FEDB8DF7452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3680" b="14615"/>
            <a:stretch/>
          </p:blipFill>
          <p:spPr bwMode="auto">
            <a:xfrm>
              <a:off x="4698434" y="4166783"/>
              <a:ext cx="695004" cy="496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AD47828B-B2BC-DBC4-B7D4-E38009A05113}"/>
              </a:ext>
            </a:extLst>
          </p:cNvPr>
          <p:cNvGrpSpPr/>
          <p:nvPr/>
        </p:nvGrpSpPr>
        <p:grpSpPr>
          <a:xfrm>
            <a:off x="6082420" y="4136510"/>
            <a:ext cx="1777891" cy="1361690"/>
            <a:chOff x="6083911" y="3957471"/>
            <a:chExt cx="1777891" cy="1393481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EAAD7889-AA10-10EF-687B-EA8256F2B445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6083911" y="3957471"/>
              <a:ext cx="1777891" cy="1393481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1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utiger 45 bold"/>
                <a:ea typeface="+mn-ea"/>
                <a:cs typeface="Arial"/>
              </a:endParaRPr>
            </a:p>
          </p:txBody>
        </p:sp>
        <p:pic>
          <p:nvPicPr>
            <p:cNvPr id="168" name="Picture 20">
              <a:extLst>
                <a:ext uri="{FF2B5EF4-FFF2-40B4-BE49-F238E27FC236}">
                  <a16:creationId xmlns:a16="http://schemas.microsoft.com/office/drawing/2014/main" id="{E35B3B18-78BC-4B84-3D7C-C6050262EA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55334" y="4524131"/>
              <a:ext cx="541931" cy="2722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9" name="Picture 22" descr="FIS (company) - Wikipedia">
              <a:extLst>
                <a:ext uri="{FF2B5EF4-FFF2-40B4-BE49-F238E27FC236}">
                  <a16:creationId xmlns:a16="http://schemas.microsoft.com/office/drawing/2014/main" id="{D41B85CA-67F5-8D93-65CF-C2CD2212C9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8581" y="4112451"/>
              <a:ext cx="533120" cy="2225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82B16F5F-8ABB-ABC1-4518-71A2F7D9E858}"/>
              </a:ext>
            </a:extLst>
          </p:cNvPr>
          <p:cNvGrpSpPr/>
          <p:nvPr/>
        </p:nvGrpSpPr>
        <p:grpSpPr>
          <a:xfrm>
            <a:off x="2299832" y="4136511"/>
            <a:ext cx="1770113" cy="1361690"/>
            <a:chOff x="2273889" y="3950270"/>
            <a:chExt cx="1770113" cy="1395513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B5BCB08A-6B85-0949-DDAE-C2F8AE563CF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2273889" y="3950270"/>
              <a:ext cx="1770113" cy="139551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1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utiger 45 bold"/>
                <a:ea typeface="+mn-ea"/>
                <a:cs typeface="Arial"/>
              </a:endParaRPr>
            </a:p>
          </p:txBody>
        </p:sp>
        <p:pic>
          <p:nvPicPr>
            <p:cNvPr id="172" name="Picture 2" descr="Nordea hires 60 new advisors after strong growth for video meetings">
              <a:extLst>
                <a:ext uri="{FF2B5EF4-FFF2-40B4-BE49-F238E27FC236}">
                  <a16:creationId xmlns:a16="http://schemas.microsoft.com/office/drawing/2014/main" id="{CF0104CB-11C2-BB0D-2B47-58B52C5B1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6175" y="3997158"/>
              <a:ext cx="870626" cy="372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3" name="Picture 4" descr="Absa Group Limited - Wikipedia">
              <a:extLst>
                <a:ext uri="{FF2B5EF4-FFF2-40B4-BE49-F238E27FC236}">
                  <a16:creationId xmlns:a16="http://schemas.microsoft.com/office/drawing/2014/main" id="{F9F2030A-9956-BD46-06BE-61D29A9EB0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5742" y="4447036"/>
              <a:ext cx="353822" cy="353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4" name="Picture 6" descr="City National Bank Logo Download in HD Quality">
              <a:extLst>
                <a:ext uri="{FF2B5EF4-FFF2-40B4-BE49-F238E27FC236}">
                  <a16:creationId xmlns:a16="http://schemas.microsoft.com/office/drawing/2014/main" id="{D3FB262B-BE37-2D0F-98C5-334FDC19DE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7751" y="4960319"/>
              <a:ext cx="1233054" cy="3303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5" name="Picture 2" descr="HDFC-LOGO - Gurpreet Saluja">
              <a:extLst>
                <a:ext uri="{FF2B5EF4-FFF2-40B4-BE49-F238E27FC236}">
                  <a16:creationId xmlns:a16="http://schemas.microsoft.com/office/drawing/2014/main" id="{7140BCED-E210-3F93-4558-893AD603F8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1625" y="4346407"/>
              <a:ext cx="381100" cy="381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6" name="Picture 8">
              <a:extLst>
                <a:ext uri="{FF2B5EF4-FFF2-40B4-BE49-F238E27FC236}">
                  <a16:creationId xmlns:a16="http://schemas.microsoft.com/office/drawing/2014/main" id="{967FABAC-6737-C255-0498-C97589598A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98989" y="3962790"/>
              <a:ext cx="766402" cy="4257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C0CB130B-1C29-781B-93F2-C83CDEE1B343}"/>
              </a:ext>
            </a:extLst>
          </p:cNvPr>
          <p:cNvGrpSpPr/>
          <p:nvPr/>
        </p:nvGrpSpPr>
        <p:grpSpPr>
          <a:xfrm>
            <a:off x="6278627" y="4136511"/>
            <a:ext cx="3604580" cy="1361689"/>
            <a:chOff x="6272751" y="3951574"/>
            <a:chExt cx="3604580" cy="1395512"/>
          </a:xfrm>
        </p:grpSpPr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6A3A89D6-EB2E-AF23-C484-2001D0F315E3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7993388" y="3951574"/>
              <a:ext cx="1883943" cy="139551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1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utiger 45 bold"/>
                <a:ea typeface="+mn-ea"/>
                <a:cs typeface="Arial"/>
              </a:endParaRPr>
            </a:p>
          </p:txBody>
        </p:sp>
        <p:pic>
          <p:nvPicPr>
            <p:cNvPr id="179" name="Picture 18" descr="Finastra Harmonizes Origination for Deposits, Loans and Mortgages to  Provide a Seamless Digital Experience | Financial IT">
              <a:extLst>
                <a:ext uri="{FF2B5EF4-FFF2-40B4-BE49-F238E27FC236}">
                  <a16:creationId xmlns:a16="http://schemas.microsoft.com/office/drawing/2014/main" id="{3FC417E9-6D1F-14EA-F6CE-F7AA53719F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2358" y="4014843"/>
              <a:ext cx="712356" cy="391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0" name="Picture 24" descr="ACI Worldwide, Constant Team to Promote Consumer Digital Engagement">
              <a:extLst>
                <a:ext uri="{FF2B5EF4-FFF2-40B4-BE49-F238E27FC236}">
                  <a16:creationId xmlns:a16="http://schemas.microsoft.com/office/drawing/2014/main" id="{46D14EDB-1F2D-8A07-283F-1B1EFE8393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8786" y="4812235"/>
              <a:ext cx="369015" cy="2586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1" name="Picture 180">
              <a:extLst>
                <a:ext uri="{FF2B5EF4-FFF2-40B4-BE49-F238E27FC236}">
                  <a16:creationId xmlns:a16="http://schemas.microsoft.com/office/drawing/2014/main" id="{D359EB2D-7309-42D1-9625-69B07B8CA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6272751" y="4912442"/>
              <a:ext cx="1347830" cy="339530"/>
            </a:xfrm>
            <a:prstGeom prst="rect">
              <a:avLst/>
            </a:prstGeom>
          </p:spPr>
        </p:pic>
        <p:pic>
          <p:nvPicPr>
            <p:cNvPr id="182" name="Picture 181">
              <a:extLst>
                <a:ext uri="{FF2B5EF4-FFF2-40B4-BE49-F238E27FC236}">
                  <a16:creationId xmlns:a16="http://schemas.microsoft.com/office/drawing/2014/main" id="{1D01A4EC-D987-9267-FDEB-7C90F0EF49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48396" y="3984683"/>
              <a:ext cx="632379" cy="421585"/>
            </a:xfrm>
            <a:prstGeom prst="rect">
              <a:avLst/>
            </a:prstGeom>
          </p:spPr>
        </p:pic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BC246258-F7FD-8DBA-0FD5-0ABA9A79A5CF}"/>
              </a:ext>
            </a:extLst>
          </p:cNvPr>
          <p:cNvGrpSpPr/>
          <p:nvPr/>
        </p:nvGrpSpPr>
        <p:grpSpPr>
          <a:xfrm>
            <a:off x="10009222" y="4136510"/>
            <a:ext cx="1792701" cy="1361689"/>
            <a:chOff x="10017656" y="3945892"/>
            <a:chExt cx="1792701" cy="1385787"/>
          </a:xfrm>
        </p:grpSpPr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83B231B1-58EC-3521-6E82-A8666670C516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0017656" y="3945892"/>
              <a:ext cx="1792701" cy="1385787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1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utiger 45 bold"/>
                <a:ea typeface="+mn-ea"/>
                <a:cs typeface="Arial"/>
              </a:endParaRPr>
            </a:p>
          </p:txBody>
        </p:sp>
        <p:pic>
          <p:nvPicPr>
            <p:cNvPr id="185" name="Picture 184">
              <a:extLst>
                <a:ext uri="{FF2B5EF4-FFF2-40B4-BE49-F238E27FC236}">
                  <a16:creationId xmlns:a16="http://schemas.microsoft.com/office/drawing/2014/main" id="{8F264DF9-22AA-B782-6AD2-8465AA9119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07529" y="4236358"/>
              <a:ext cx="1278239" cy="615169"/>
            </a:xfrm>
            <a:prstGeom prst="rect">
              <a:avLst/>
            </a:prstGeom>
          </p:spPr>
        </p:pic>
      </p:grpSp>
      <p:sp>
        <p:nvSpPr>
          <p:cNvPr id="186" name="TextBox 185">
            <a:extLst>
              <a:ext uri="{FF2B5EF4-FFF2-40B4-BE49-F238E27FC236}">
                <a16:creationId xmlns:a16="http://schemas.microsoft.com/office/drawing/2014/main" id="{0BCE797E-61BF-69C8-22DB-D75373EF245E}"/>
              </a:ext>
            </a:extLst>
          </p:cNvPr>
          <p:cNvSpPr txBox="1"/>
          <p:nvPr/>
        </p:nvSpPr>
        <p:spPr>
          <a:xfrm>
            <a:off x="184355" y="5666195"/>
            <a:ext cx="5998619" cy="286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bold"/>
                <a:ea typeface="+mn-ea"/>
                <a:cs typeface="+mn-cs"/>
              </a:rPr>
              <a:t>Our Strategy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3F1ADA07-6406-BE2E-8A97-0BC3B0ACA97B}"/>
              </a:ext>
            </a:extLst>
          </p:cNvPr>
          <p:cNvSpPr txBox="1"/>
          <p:nvPr/>
        </p:nvSpPr>
        <p:spPr>
          <a:xfrm>
            <a:off x="184432" y="5905822"/>
            <a:ext cx="54131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44546A">
                    <a:lumMod val="50000"/>
                  </a:srgbClr>
                </a:solidFill>
                <a:latin typeface="Frutiger 45 bold"/>
              </a:rPr>
              <a:t>AI in Everything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Frutiger 45 bold"/>
                <a:ea typeface="+mn-ea"/>
                <a:cs typeface="+mn-cs"/>
              </a:rPr>
              <a:t>  |  Everything for AI | AI for Everyone</a:t>
            </a:r>
          </a:p>
        </p:txBody>
      </p:sp>
      <p:pic>
        <p:nvPicPr>
          <p:cNvPr id="188" name="Picture 187">
            <a:extLst>
              <a:ext uri="{FF2B5EF4-FFF2-40B4-BE49-F238E27FC236}">
                <a16:creationId xmlns:a16="http://schemas.microsoft.com/office/drawing/2014/main" id="{92EE947A-13BF-9DB0-C971-53A0E9B71845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8942411" y="4845060"/>
            <a:ext cx="768272" cy="430232"/>
          </a:xfrm>
          <a:prstGeom prst="rect">
            <a:avLst/>
          </a:prstGeom>
        </p:spPr>
      </p:pic>
      <p:pic>
        <p:nvPicPr>
          <p:cNvPr id="189" name="Picture 10" descr="The Story Behind Mastercard's New Logo">
            <a:extLst>
              <a:ext uri="{FF2B5EF4-FFF2-40B4-BE49-F238E27FC236}">
                <a16:creationId xmlns:a16="http://schemas.microsoft.com/office/drawing/2014/main" id="{2F359662-9F30-A36A-C2B1-CA3BC7CF3A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>
            <a:clrChange>
              <a:clrFrom>
                <a:srgbClr val="F0EFEB"/>
              </a:clrFrom>
              <a:clrTo>
                <a:srgbClr val="F0EFE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100" y="4862209"/>
            <a:ext cx="728848" cy="525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" name="Picture 189">
            <a:extLst>
              <a:ext uri="{FF2B5EF4-FFF2-40B4-BE49-F238E27FC236}">
                <a16:creationId xmlns:a16="http://schemas.microsoft.com/office/drawing/2014/main" id="{3F33FEDA-BFFE-8AFF-F962-3EEC5F01D012}"/>
              </a:ext>
            </a:extLst>
          </p:cNvPr>
          <p:cNvPicPr>
            <a:picLocks noChangeAspect="1"/>
          </p:cNvPicPr>
          <p:nvPr/>
        </p:nvPicPr>
        <p:blipFill rotWithShape="1">
          <a:blip r:embed="rId47"/>
          <a:srcRect l="-1755" t="26655" r="1755" b="26761"/>
          <a:stretch/>
        </p:blipFill>
        <p:spPr>
          <a:xfrm>
            <a:off x="6215198" y="4273302"/>
            <a:ext cx="801733" cy="337898"/>
          </a:xfrm>
          <a:prstGeom prst="rect">
            <a:avLst/>
          </a:prstGeom>
        </p:spPr>
      </p:pic>
      <p:pic>
        <p:nvPicPr>
          <p:cNvPr id="191" name="Picture 4">
            <a:extLst>
              <a:ext uri="{FF2B5EF4-FFF2-40B4-BE49-F238E27FC236}">
                <a16:creationId xmlns:a16="http://schemas.microsoft.com/office/drawing/2014/main" id="{1A4256C6-A1D0-E086-1E10-35BE56FD69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546" y="4563060"/>
            <a:ext cx="670781" cy="156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2" name="Picture 191">
            <a:extLst>
              <a:ext uri="{FF2B5EF4-FFF2-40B4-BE49-F238E27FC236}">
                <a16:creationId xmlns:a16="http://schemas.microsoft.com/office/drawing/2014/main" id="{39AE9D1F-4D88-CC3C-2DDE-CCC753229E0D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3145355" y="4877362"/>
            <a:ext cx="510826" cy="239955"/>
          </a:xfrm>
          <a:prstGeom prst="rect">
            <a:avLst/>
          </a:prstGeom>
        </p:spPr>
      </p:pic>
      <p:pic>
        <p:nvPicPr>
          <p:cNvPr id="193" name="Picture 192">
            <a:extLst>
              <a:ext uri="{FF2B5EF4-FFF2-40B4-BE49-F238E27FC236}">
                <a16:creationId xmlns:a16="http://schemas.microsoft.com/office/drawing/2014/main" id="{5A1B9C35-9EA8-29E7-D200-49B23608F8F3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2351747" y="4955675"/>
            <a:ext cx="640849" cy="220771"/>
          </a:xfrm>
          <a:prstGeom prst="rect">
            <a:avLst/>
          </a:prstGeom>
        </p:spPr>
      </p:pic>
      <p:pic>
        <p:nvPicPr>
          <p:cNvPr id="194" name="Picture 193">
            <a:extLst>
              <a:ext uri="{FF2B5EF4-FFF2-40B4-BE49-F238E27FC236}">
                <a16:creationId xmlns:a16="http://schemas.microsoft.com/office/drawing/2014/main" id="{94968640-E9FB-5EC7-63A3-EB2A3FB17B8B}"/>
              </a:ext>
            </a:extLst>
          </p:cNvPr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576141" y="4845903"/>
            <a:ext cx="627942" cy="262151"/>
          </a:xfrm>
          <a:prstGeom prst="rect">
            <a:avLst/>
          </a:prstGeom>
        </p:spPr>
      </p:pic>
      <p:sp>
        <p:nvSpPr>
          <p:cNvPr id="195" name="TextBox 194">
            <a:extLst>
              <a:ext uri="{FF2B5EF4-FFF2-40B4-BE49-F238E27FC236}">
                <a16:creationId xmlns:a16="http://schemas.microsoft.com/office/drawing/2014/main" id="{216763E8-3615-C74A-FB85-793DABE94E03}"/>
              </a:ext>
            </a:extLst>
          </p:cNvPr>
          <p:cNvSpPr txBox="1"/>
          <p:nvPr/>
        </p:nvSpPr>
        <p:spPr>
          <a:xfrm>
            <a:off x="6268603" y="5901901"/>
            <a:ext cx="5998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Frutiger 45 bold"/>
                <a:ea typeface="+mn-ea"/>
                <a:cs typeface="+mn-cs"/>
              </a:rPr>
              <a:t>Cards Issuing &amp; Acquiring|  </a:t>
            </a:r>
            <a:r>
              <a:rPr lang="en-US" sz="1600" b="1">
                <a:solidFill>
                  <a:srgbClr val="44546A">
                    <a:lumMod val="50000"/>
                  </a:srgbClr>
                </a:solidFill>
                <a:latin typeface="Frutiger 45 bold"/>
              </a:rPr>
              <a:t>Account Based Payments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Frutiger 45 bold"/>
                <a:ea typeface="+mn-ea"/>
                <a:cs typeface="+mn-cs"/>
              </a:rPr>
              <a:t> | Switch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7243B973-2317-400D-BF28-002A34DECA77}"/>
              </a:ext>
            </a:extLst>
          </p:cNvPr>
          <p:cNvSpPr txBox="1"/>
          <p:nvPr/>
        </p:nvSpPr>
        <p:spPr>
          <a:xfrm>
            <a:off x="6268602" y="5653886"/>
            <a:ext cx="5998619" cy="286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0000"/>
                </a:solidFill>
                <a:latin typeface="Frutiger 45 bold"/>
              </a:rPr>
              <a:t>We have expertise in Global Payments (Retail &amp; Corporate)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bold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8170FF-66B1-0D95-99B9-74515BF21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Cards &amp; Payments Practice has scaled significant in recent years to support diversified clientele including banks and pay tech leader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147349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9300A-B3D2-7D38-931D-B2F2B0FF2F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>
            <a:extLst>
              <a:ext uri="{FF2B5EF4-FFF2-40B4-BE49-F238E27FC236}">
                <a16:creationId xmlns:a16="http://schemas.microsoft.com/office/drawing/2014/main" id="{F33BBBE7-2E04-A535-AA70-0A2492AF9319}"/>
              </a:ext>
            </a:extLst>
          </p:cNvPr>
          <p:cNvSpPr txBox="1"/>
          <p:nvPr/>
        </p:nvSpPr>
        <p:spPr>
          <a:xfrm>
            <a:off x="1281409" y="198119"/>
            <a:ext cx="504874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>
                <a:solidFill>
                  <a:prstClr val="black"/>
                </a:solidFill>
                <a:latin typeface="Frutiger 45 bold"/>
              </a:rPr>
              <a:t>Key Challenges we see in Payments industr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0DF2D98-3296-E868-848D-C69300B19621}"/>
              </a:ext>
            </a:extLst>
          </p:cNvPr>
          <p:cNvSpPr txBox="1"/>
          <p:nvPr/>
        </p:nvSpPr>
        <p:spPr>
          <a:xfrm>
            <a:off x="6801979" y="198119"/>
            <a:ext cx="539002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>
                <a:solidFill>
                  <a:srgbClr val="44546A">
                    <a:lumMod val="50000"/>
                  </a:srgbClr>
                </a:solidFill>
                <a:latin typeface="Calibri" panose="020F0502020204030204"/>
              </a:rPr>
              <a:t>Key Areas of Focus for Payments Transformation</a:t>
            </a:r>
            <a:endParaRPr lang="en-US" sz="280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35" name="Picture 4" descr="24,264,342 Digital Images, Stock Photos &amp; Vectors | Shutterstock">
            <a:extLst>
              <a:ext uri="{FF2B5EF4-FFF2-40B4-BE49-F238E27FC236}">
                <a16:creationId xmlns:a16="http://schemas.microsoft.com/office/drawing/2014/main" id="{D0F35DCF-6A95-8047-2D99-54A83FEA47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27030" y="0"/>
            <a:ext cx="946484" cy="6323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2AA8207C-F767-AAEC-F9FB-E5DA3DD5B8B2}"/>
              </a:ext>
            </a:extLst>
          </p:cNvPr>
          <p:cNvSpPr txBox="1"/>
          <p:nvPr/>
        </p:nvSpPr>
        <p:spPr bwMode="gray">
          <a:xfrm>
            <a:off x="1745579" y="1273330"/>
            <a:ext cx="4502801" cy="1078874"/>
          </a:xfrm>
          <a:prstGeom prst="rect">
            <a:avLst/>
          </a:prstGeom>
          <a:noFill/>
        </p:spPr>
        <p:txBody>
          <a:bodyPr wrap="square" lIns="91440" tIns="36000" rIns="36000" bIns="36000" rtlCol="0" anchor="ctr" anchorCtr="0">
            <a:noAutofit/>
          </a:bodyPr>
          <a:lstStyle/>
          <a:p>
            <a:pPr marL="4762" defTabSz="711200">
              <a:spcBef>
                <a:spcPts val="1200"/>
              </a:spcBef>
              <a:defRPr/>
            </a:pPr>
            <a:r>
              <a:rPr lang="en-US" sz="1600" b="1">
                <a:solidFill>
                  <a:srgbClr val="004B86"/>
                </a:solidFill>
                <a:latin typeface="Frutiger 45 bold"/>
                <a:cs typeface="Arial" panose="020B0604020202020204" pitchFamily="34" charset="0"/>
              </a:rPr>
              <a:t>Complying with industry standards </a:t>
            </a:r>
            <a:br>
              <a:rPr lang="en-US" b="1">
                <a:solidFill>
                  <a:srgbClr val="004B86"/>
                </a:solidFill>
                <a:latin typeface="Frutiger 45 bold"/>
                <a:cs typeface="Arial" panose="020B0604020202020204" pitchFamily="34" charset="0"/>
              </a:rPr>
            </a:br>
            <a:r>
              <a:rPr lang="en-US" sz="1200">
                <a:solidFill>
                  <a:srgbClr val="000000"/>
                </a:solidFill>
                <a:latin typeface="Frutiger 45 bold"/>
                <a:cs typeface="Arial" panose="020B0604020202020204" pitchFamily="34" charset="0"/>
              </a:rPr>
              <a:t>Compliance with PCI DSS/PSD2 | Mandatory Scheme Compliance | ISO20022 | Sanctions, AML &amp; Fraud</a:t>
            </a:r>
          </a:p>
        </p:txBody>
      </p:sp>
      <p:pic>
        <p:nvPicPr>
          <p:cNvPr id="37" name="Picture 16" descr="Blue Circle 3d Icon | FluentUI Emoji 3D Iconpack | Microsoft">
            <a:extLst>
              <a:ext uri="{FF2B5EF4-FFF2-40B4-BE49-F238E27FC236}">
                <a16:creationId xmlns:a16="http://schemas.microsoft.com/office/drawing/2014/main" id="{5B6185FA-74CB-4A6D-B5BD-04CDBC8811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9990" y="1717431"/>
            <a:ext cx="325251" cy="32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7D876BB1-DF4B-A393-DC2D-56ECB40D91F4}"/>
              </a:ext>
            </a:extLst>
          </p:cNvPr>
          <p:cNvSpPr txBox="1"/>
          <p:nvPr/>
        </p:nvSpPr>
        <p:spPr>
          <a:xfrm>
            <a:off x="1692902" y="3943481"/>
            <a:ext cx="407770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762" defTabSz="711200">
              <a:spcBef>
                <a:spcPts val="1200"/>
              </a:spcBef>
              <a:defRPr/>
            </a:pPr>
            <a:r>
              <a:rPr lang="en-US" sz="1600" b="1">
                <a:solidFill>
                  <a:srgbClr val="004B86"/>
                </a:solidFill>
                <a:latin typeface="Frutiger 45 bold"/>
                <a:cs typeface="Arial" panose="020B0604020202020204" pitchFamily="34" charset="0"/>
              </a:rPr>
              <a:t>Rise of new payment methods and adjacencies for growth </a:t>
            </a:r>
            <a:br>
              <a:rPr lang="en-US" sz="1400" b="1">
                <a:solidFill>
                  <a:srgbClr val="004B86"/>
                </a:solidFill>
                <a:latin typeface="Frutiger LT Pro 45 Light" panose="020B0403030504020204" pitchFamily="34" charset="0"/>
                <a:cs typeface="Arial" panose="020B0604020202020204" pitchFamily="34" charset="0"/>
              </a:rPr>
            </a:br>
            <a:r>
              <a:rPr lang="en-US" sz="1200">
                <a:solidFill>
                  <a:srgbClr val="000000"/>
                </a:solidFill>
                <a:latin typeface="Frutiger 45 bold"/>
                <a:cs typeface="Arial" panose="020B0604020202020204" pitchFamily="34" charset="0"/>
              </a:rPr>
              <a:t>BNPL | NFC (contactless) | RTP | Co-branded cards | </a:t>
            </a:r>
            <a:br>
              <a:rPr lang="en-US" sz="1200">
                <a:solidFill>
                  <a:srgbClr val="000000"/>
                </a:solidFill>
                <a:latin typeface="Frutiger 45 bold"/>
                <a:cs typeface="Arial" panose="020B0604020202020204" pitchFamily="34" charset="0"/>
              </a:rPr>
            </a:br>
            <a:r>
              <a:rPr lang="en-US" sz="1200">
                <a:solidFill>
                  <a:srgbClr val="000000"/>
                </a:solidFill>
                <a:latin typeface="Frutiger 45 bold"/>
                <a:cs typeface="Arial" panose="020B0604020202020204" pitchFamily="34" charset="0"/>
              </a:rPr>
              <a:t>Digital wallets | Alternate Payment methods | VOP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47352DD-3C5D-9AC0-CCD2-A5C4B6544BD0}"/>
              </a:ext>
            </a:extLst>
          </p:cNvPr>
          <p:cNvSpPr txBox="1"/>
          <p:nvPr/>
        </p:nvSpPr>
        <p:spPr bwMode="gray">
          <a:xfrm>
            <a:off x="1745579" y="5228622"/>
            <a:ext cx="3662191" cy="669157"/>
          </a:xfrm>
          <a:prstGeom prst="rect">
            <a:avLst/>
          </a:prstGeom>
          <a:noFill/>
        </p:spPr>
        <p:txBody>
          <a:bodyPr wrap="square" lIns="91440" tIns="36000" rIns="36000" bIns="36000" rtlCol="0" anchor="ctr" anchorCtr="0">
            <a:noAutofit/>
          </a:bodyPr>
          <a:lstStyle/>
          <a:p>
            <a:pPr marL="4762" defTabSz="711200">
              <a:spcBef>
                <a:spcPts val="1200"/>
              </a:spcBef>
              <a:defRPr/>
            </a:pPr>
            <a:r>
              <a:rPr lang="en-US" sz="1600" b="1">
                <a:solidFill>
                  <a:srgbClr val="004B86"/>
                </a:solidFill>
                <a:latin typeface="Frutiger 45 bold"/>
                <a:cs typeface="Arial" panose="020B0604020202020204" pitchFamily="34" charset="0"/>
              </a:rPr>
              <a:t>Diversification into VAS &amp; Personalization in the evolving digital landscape</a:t>
            </a:r>
            <a:br>
              <a:rPr lang="en-US" b="1">
                <a:solidFill>
                  <a:srgbClr val="004B86"/>
                </a:solidFill>
                <a:latin typeface="Frutiger 45 bold"/>
                <a:cs typeface="Arial" panose="020B0604020202020204" pitchFamily="34" charset="0"/>
              </a:rPr>
            </a:br>
            <a:r>
              <a:rPr lang="en-US" sz="1200">
                <a:solidFill>
                  <a:srgbClr val="000000"/>
                </a:solidFill>
                <a:latin typeface="Frutiger 45 bold"/>
                <a:cs typeface="Arial" panose="020B0604020202020204" pitchFamily="34" charset="0"/>
              </a:rPr>
              <a:t>Retail analytics | Loyalty | Advisory | Marketing insights</a:t>
            </a:r>
          </a:p>
        </p:txBody>
      </p:sp>
      <p:pic>
        <p:nvPicPr>
          <p:cNvPr id="40" name="Picture 16" descr="Blue Circle 3d Icon | FluentUI Emoji 3D Iconpack | Microsoft">
            <a:extLst>
              <a:ext uri="{FF2B5EF4-FFF2-40B4-BE49-F238E27FC236}">
                <a16:creationId xmlns:a16="http://schemas.microsoft.com/office/drawing/2014/main" id="{324C8F9F-ADFA-25A5-FF54-AFCDE9ECDC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8912" y="2822646"/>
            <a:ext cx="325251" cy="32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6" descr="Blue Circle 3d Icon | FluentUI Emoji 3D Iconpack | Microsoft">
            <a:extLst>
              <a:ext uri="{FF2B5EF4-FFF2-40B4-BE49-F238E27FC236}">
                <a16:creationId xmlns:a16="http://schemas.microsoft.com/office/drawing/2014/main" id="{E6DE8FB0-21E4-DE3F-0E8B-5E5ACF0711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0996" y="4173586"/>
            <a:ext cx="325251" cy="32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6" descr="Blue Circle 3d Icon | FluentUI Emoji 3D Iconpack | Microsoft">
            <a:extLst>
              <a:ext uri="{FF2B5EF4-FFF2-40B4-BE49-F238E27FC236}">
                <a16:creationId xmlns:a16="http://schemas.microsoft.com/office/drawing/2014/main" id="{265AADCD-C91B-BE6C-BA4E-8EF7B3FD4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3080" y="5460358"/>
            <a:ext cx="325251" cy="32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10">
            <a:extLst>
              <a:ext uri="{FF2B5EF4-FFF2-40B4-BE49-F238E27FC236}">
                <a16:creationId xmlns:a16="http://schemas.microsoft.com/office/drawing/2014/main" id="{8A47D259-F715-D9C8-9C9C-3A20560A24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799991" flipH="1">
            <a:off x="1528331" y="2324864"/>
            <a:ext cx="3924000" cy="5468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4" name="Picture 110">
            <a:extLst>
              <a:ext uri="{FF2B5EF4-FFF2-40B4-BE49-F238E27FC236}">
                <a16:creationId xmlns:a16="http://schemas.microsoft.com/office/drawing/2014/main" id="{F2B152F2-91EB-78A1-5DB8-B18AEB9F60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799991" flipH="1">
            <a:off x="1692904" y="3693000"/>
            <a:ext cx="3924000" cy="5468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5" name="Picture 110">
            <a:extLst>
              <a:ext uri="{FF2B5EF4-FFF2-40B4-BE49-F238E27FC236}">
                <a16:creationId xmlns:a16="http://schemas.microsoft.com/office/drawing/2014/main" id="{7506E93C-91E1-FC03-6919-0EDF815CDF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799991" flipH="1">
            <a:off x="1692903" y="4897594"/>
            <a:ext cx="3924000" cy="5468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6" name="Picture 110">
            <a:extLst>
              <a:ext uri="{FF2B5EF4-FFF2-40B4-BE49-F238E27FC236}">
                <a16:creationId xmlns:a16="http://schemas.microsoft.com/office/drawing/2014/main" id="{BE32C297-62AC-F49A-11BD-B89E8F13A0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799991" flipH="1">
            <a:off x="1638828" y="6118109"/>
            <a:ext cx="3924000" cy="5468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3C823A48-0D5B-C301-CB17-C97778ABD3A2}"/>
              </a:ext>
            </a:extLst>
          </p:cNvPr>
          <p:cNvSpPr txBox="1"/>
          <p:nvPr/>
        </p:nvSpPr>
        <p:spPr>
          <a:xfrm>
            <a:off x="7537134" y="1393759"/>
            <a:ext cx="4092022" cy="902427"/>
          </a:xfrm>
          <a:prstGeom prst="rect">
            <a:avLst/>
          </a:prstGeom>
          <a:solidFill>
            <a:srgbClr val="E1F1FF"/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  <a:spcAft>
                <a:spcPts val="3600"/>
              </a:spcAft>
              <a:defRPr/>
            </a:pPr>
            <a:r>
              <a:rPr lang="en-US" sz="1600" b="1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  <a:cs typeface="Arial"/>
              </a:rPr>
              <a:t>Run the Day - Payment Standards &amp; Regulatory Compliance</a:t>
            </a:r>
            <a:br>
              <a:rPr lang="en-US" sz="1600" b="1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  <a:cs typeface="Arial" panose="020B0604020202020204" pitchFamily="34" charset="0"/>
              </a:rPr>
            </a:br>
            <a:r>
              <a:rPr lang="en-US" sz="1200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</a:rPr>
              <a:t>Help banks and </a:t>
            </a:r>
            <a:r>
              <a:rPr lang="en-US" sz="1200" err="1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</a:rPr>
              <a:t>PayTechs</a:t>
            </a:r>
            <a:r>
              <a:rPr lang="en-US" sz="1200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</a:rPr>
              <a:t> upgrade their systems to comply with the evolving regulatory demands.</a:t>
            </a:r>
            <a:endParaRPr lang="en-US" sz="1600">
              <a:solidFill>
                <a:prstClr val="black">
                  <a:lumMod val="95000"/>
                  <a:lumOff val="5000"/>
                </a:prstClr>
              </a:solidFill>
              <a:latin typeface="Frutiger 45 bold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CE0DB4E-6E96-64BA-5571-FA8FC6C028EB}"/>
              </a:ext>
            </a:extLst>
          </p:cNvPr>
          <p:cNvSpPr txBox="1"/>
          <p:nvPr/>
        </p:nvSpPr>
        <p:spPr>
          <a:xfrm>
            <a:off x="7524463" y="2547809"/>
            <a:ext cx="4144850" cy="707886"/>
          </a:xfrm>
          <a:prstGeom prst="rect">
            <a:avLst/>
          </a:prstGeom>
          <a:solidFill>
            <a:srgbClr val="E1F1FF"/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marL="4445" defTabSz="711200">
              <a:spcBef>
                <a:spcPts val="1200"/>
              </a:spcBef>
              <a:defRPr/>
            </a:pPr>
            <a:r>
              <a:rPr lang="en-US" sz="1600" b="1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  <a:cs typeface="Arial"/>
              </a:rPr>
              <a:t>Run the Day - Core Modernization</a:t>
            </a:r>
            <a:br>
              <a:rPr lang="en-US" sz="1600" b="1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  <a:cs typeface="Arial" panose="020B0604020202020204" pitchFamily="34" charset="0"/>
              </a:rPr>
            </a:br>
            <a:r>
              <a:rPr lang="en-US" sz="1200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</a:rPr>
              <a:t>Transformation from Legacy monolithic systems to Cloud Agnostic Microservice based architecture.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D0035E6-619D-E782-8FC3-BACBACA3C171}"/>
              </a:ext>
            </a:extLst>
          </p:cNvPr>
          <p:cNvSpPr txBox="1"/>
          <p:nvPr/>
        </p:nvSpPr>
        <p:spPr>
          <a:xfrm>
            <a:off x="7537134" y="3678393"/>
            <a:ext cx="4092022" cy="954107"/>
          </a:xfrm>
          <a:prstGeom prst="rect">
            <a:avLst/>
          </a:prstGeom>
          <a:solidFill>
            <a:srgbClr val="E1F1FF"/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marL="4762" defTabSz="711200">
              <a:spcBef>
                <a:spcPts val="1200"/>
              </a:spcBef>
              <a:defRPr/>
            </a:pPr>
            <a:r>
              <a:rPr lang="en-US" sz="1600" b="1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  <a:cs typeface="Arial"/>
              </a:rPr>
              <a:t>Change the Week – Digital Transformation &amp; Real Time Payments</a:t>
            </a:r>
            <a:br>
              <a:rPr lang="en-US" sz="1600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  <a:cs typeface="Arial" panose="020B0604020202020204" pitchFamily="34" charset="0"/>
              </a:rPr>
            </a:br>
            <a:r>
              <a:rPr lang="en-US" sz="1200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</a:rPr>
              <a:t>Enhance customer experience with seamless, frictionless, simple and faster payment alternatives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188EA8E-1413-F683-AFBE-2A7A86347995}"/>
              </a:ext>
            </a:extLst>
          </p:cNvPr>
          <p:cNvSpPr txBox="1"/>
          <p:nvPr/>
        </p:nvSpPr>
        <p:spPr>
          <a:xfrm>
            <a:off x="7557187" y="5033495"/>
            <a:ext cx="4071969" cy="892552"/>
          </a:xfrm>
          <a:prstGeom prst="rect">
            <a:avLst/>
          </a:prstGeom>
          <a:solidFill>
            <a:srgbClr val="E1F1FF"/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marL="4762" defTabSz="711200">
              <a:spcBef>
                <a:spcPts val="1200"/>
              </a:spcBef>
              <a:defRPr/>
            </a:pPr>
            <a:r>
              <a:rPr lang="en-US" sz="1600" b="1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  <a:cs typeface="Arial"/>
              </a:rPr>
              <a:t>Transform the Month – Beyond Payments</a:t>
            </a:r>
            <a:br>
              <a:rPr lang="en-US" sz="1600" b="1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  <a:cs typeface="Arial"/>
              </a:rPr>
            </a:br>
            <a:r>
              <a:rPr lang="en-US" sz="1200">
                <a:solidFill>
                  <a:prstClr val="black">
                    <a:lumMod val="95000"/>
                    <a:lumOff val="5000"/>
                  </a:prstClr>
                </a:solidFill>
                <a:latin typeface="Frutiger 45 bold"/>
              </a:rPr>
              <a:t>New business models/fintech ecosystems  &amp; solutions powered by New / Emerging Tech such as blockchain, Quantum, GenAI etc.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856B36A-A65C-B604-BC55-A36F1F74A936}"/>
              </a:ext>
            </a:extLst>
          </p:cNvPr>
          <p:cNvSpPr/>
          <p:nvPr/>
        </p:nvSpPr>
        <p:spPr>
          <a:xfrm>
            <a:off x="6801979" y="1324578"/>
            <a:ext cx="633507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4400" b="1" spc="50">
                <a:ln w="9525" cmpd="sng">
                  <a:solidFill>
                    <a:srgbClr val="4472C4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rgbClr val="4472C4">
                      <a:alpha val="40000"/>
                    </a:srgbClr>
                  </a:glow>
                </a:effectLst>
                <a:latin typeface="Frutiger 45 bold"/>
              </a:rPr>
              <a:t>1.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F0D3597-DF9F-7F45-C8A0-6F1EB8B6EBA8}"/>
              </a:ext>
            </a:extLst>
          </p:cNvPr>
          <p:cNvSpPr/>
          <p:nvPr/>
        </p:nvSpPr>
        <p:spPr>
          <a:xfrm>
            <a:off x="6757688" y="2607500"/>
            <a:ext cx="633507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4400" b="1" spc="50">
                <a:ln w="9525" cmpd="sng">
                  <a:solidFill>
                    <a:srgbClr val="4472C4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rgbClr val="4472C4">
                      <a:alpha val="40000"/>
                    </a:srgbClr>
                  </a:glow>
                </a:effectLst>
                <a:latin typeface="Frutiger 45 bold"/>
              </a:rPr>
              <a:t>2.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B56F276-5EC6-F914-0CF5-4006699BD1A1}"/>
              </a:ext>
            </a:extLst>
          </p:cNvPr>
          <p:cNvSpPr/>
          <p:nvPr/>
        </p:nvSpPr>
        <p:spPr>
          <a:xfrm>
            <a:off x="6757688" y="3788865"/>
            <a:ext cx="633507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4400" b="1" spc="50">
                <a:ln w="9525" cmpd="sng">
                  <a:solidFill>
                    <a:srgbClr val="4472C4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rgbClr val="4472C4">
                      <a:alpha val="40000"/>
                    </a:srgbClr>
                  </a:glow>
                </a:effectLst>
                <a:latin typeface="Frutiger 45 bold"/>
              </a:rPr>
              <a:t>3.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9B78568-C08D-8511-66A3-44E00F49AABE}"/>
              </a:ext>
            </a:extLst>
          </p:cNvPr>
          <p:cNvSpPr/>
          <p:nvPr/>
        </p:nvSpPr>
        <p:spPr>
          <a:xfrm>
            <a:off x="6784232" y="5012625"/>
            <a:ext cx="633507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4400" b="1" spc="50">
                <a:ln w="9525" cmpd="sng">
                  <a:solidFill>
                    <a:srgbClr val="4472C4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rgbClr val="4472C4">
                      <a:alpha val="40000"/>
                    </a:srgbClr>
                  </a:glow>
                </a:effectLst>
                <a:latin typeface="Frutiger 45 bold"/>
              </a:rPr>
              <a:t>4.</a:t>
            </a:r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EF9F5CA9-8F1D-A553-73FA-42130724221D}"/>
              </a:ext>
            </a:extLst>
          </p:cNvPr>
          <p:cNvSpPr/>
          <p:nvPr/>
        </p:nvSpPr>
        <p:spPr>
          <a:xfrm rot="5400000">
            <a:off x="4018308" y="3623831"/>
            <a:ext cx="4642731" cy="182587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B222018-849C-E5BD-3C60-583499794CCC}"/>
              </a:ext>
            </a:extLst>
          </p:cNvPr>
          <p:cNvSpPr txBox="1"/>
          <p:nvPr/>
        </p:nvSpPr>
        <p:spPr bwMode="gray">
          <a:xfrm>
            <a:off x="1711183" y="2671035"/>
            <a:ext cx="3516232" cy="1070295"/>
          </a:xfrm>
          <a:prstGeom prst="rect">
            <a:avLst/>
          </a:prstGeom>
          <a:noFill/>
        </p:spPr>
        <p:txBody>
          <a:bodyPr wrap="square" lIns="91440" tIns="36000" rIns="36000" bIns="36000" rtlCol="0" anchor="ctr" anchorCtr="0">
            <a:noAutofit/>
          </a:bodyPr>
          <a:lstStyle/>
          <a:p>
            <a:pPr marL="4762" defTabSz="711200">
              <a:spcBef>
                <a:spcPts val="1200"/>
              </a:spcBef>
              <a:defRPr/>
            </a:pPr>
            <a:r>
              <a:rPr lang="en-US" sz="1600" b="1">
                <a:solidFill>
                  <a:srgbClr val="004B86"/>
                </a:solidFill>
                <a:latin typeface="Frutiger 45 bold"/>
                <a:cs typeface="Arial" panose="020B0604020202020204" pitchFamily="34" charset="0"/>
              </a:rPr>
              <a:t>Need for greater Security, Resiliency, Scalability and reduce TCO</a:t>
            </a:r>
            <a:br>
              <a:rPr lang="en-US" sz="1200" b="1">
                <a:solidFill>
                  <a:srgbClr val="004B86"/>
                </a:solidFill>
                <a:latin typeface="Frutiger 45 bold"/>
                <a:cs typeface="Arial" panose="020B0604020202020204" pitchFamily="34" charset="0"/>
              </a:rPr>
            </a:br>
            <a:r>
              <a:rPr lang="en-US" sz="1200">
                <a:solidFill>
                  <a:srgbClr val="000000"/>
                </a:solidFill>
                <a:latin typeface="Frutiger 45 bold"/>
                <a:cs typeface="Arial" panose="020B0604020202020204" pitchFamily="34" charset="0"/>
              </a:rPr>
              <a:t>Customer experience | Faster time to Market | Operational Efficiency| Cloud Migration | Data security &amp; privacy | Stringent SLAs</a:t>
            </a:r>
          </a:p>
          <a:p>
            <a:pPr marL="4762" defTabSz="711200">
              <a:spcBef>
                <a:spcPts val="1200"/>
              </a:spcBef>
              <a:defRPr/>
            </a:pPr>
            <a:endParaRPr lang="en-US" sz="1200">
              <a:solidFill>
                <a:srgbClr val="000000"/>
              </a:solidFill>
              <a:latin typeface="Frutiger 45 bold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4683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17E5E-6155-DE75-CCDA-FB4350D5E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AAF6C8-41E1-F1D2-1570-5CFAEB001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27" y="171155"/>
            <a:ext cx="11338560" cy="457200"/>
          </a:xfrm>
        </p:spPr>
        <p:txBody>
          <a:bodyPr>
            <a:noAutofit/>
          </a:bodyPr>
          <a:lstStyle/>
          <a:p>
            <a:r>
              <a:rPr lang="en-US"/>
              <a:t>We are enabling adoption of digital tenets powering the future of Payment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36563C0-D28C-D298-CBA3-F96D3F7C383C}"/>
              </a:ext>
            </a:extLst>
          </p:cNvPr>
          <p:cNvSpPr txBox="1"/>
          <p:nvPr/>
        </p:nvSpPr>
        <p:spPr>
          <a:xfrm>
            <a:off x="529177" y="971227"/>
            <a:ext cx="3566160" cy="532542"/>
          </a:xfrm>
          <a:prstGeom prst="round2SameRect">
            <a:avLst/>
          </a:prstGeom>
          <a:gradFill flip="none" rotWithShape="1">
            <a:gsLst>
              <a:gs pos="0">
                <a:srgbClr val="5B1B99">
                  <a:shade val="30000"/>
                  <a:satMod val="115000"/>
                </a:srgbClr>
              </a:gs>
              <a:gs pos="50000">
                <a:srgbClr val="5B1B99">
                  <a:shade val="67500"/>
                  <a:satMod val="115000"/>
                </a:srgbClr>
              </a:gs>
              <a:gs pos="100000">
                <a:srgbClr val="5B1B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28575">
            <a:noFill/>
          </a:ln>
          <a:effectLst>
            <a:outerShdw blurRad="50800" dist="25400" dir="16200000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iri"/>
                <a:ea typeface="+mn-ea"/>
                <a:cs typeface="Segoe UI" panose="020B0502040204020203" pitchFamily="34" charset="0"/>
              </a:rPr>
              <a:t>Payment Standards &amp; Regulatory Compliance</a:t>
            </a:r>
            <a:endParaRPr kumimoji="0" lang="en-IN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i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73DFE7A-DEC5-286A-84B4-6348A7251EED}"/>
              </a:ext>
            </a:extLst>
          </p:cNvPr>
          <p:cNvSpPr txBox="1"/>
          <p:nvPr/>
        </p:nvSpPr>
        <p:spPr>
          <a:xfrm>
            <a:off x="8045384" y="971227"/>
            <a:ext cx="3566160" cy="532542"/>
          </a:xfrm>
          <a:prstGeom prst="round2SameRect">
            <a:avLst/>
          </a:prstGeom>
          <a:gradFill flip="none" rotWithShape="1">
            <a:gsLst>
              <a:gs pos="0">
                <a:srgbClr val="5B1B99">
                  <a:shade val="30000"/>
                  <a:satMod val="115000"/>
                </a:srgbClr>
              </a:gs>
              <a:gs pos="50000">
                <a:srgbClr val="5B1B99">
                  <a:shade val="67500"/>
                  <a:satMod val="115000"/>
                </a:srgbClr>
              </a:gs>
              <a:gs pos="100000">
                <a:srgbClr val="5B1B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28575">
            <a:noFill/>
          </a:ln>
          <a:effectLst>
            <a:outerShdw blurRad="50800" dist="25400" dir="16200000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iri"/>
                <a:ea typeface="+mn-ea"/>
                <a:cs typeface="Segoe UI" panose="020B0502040204020203" pitchFamily="34" charset="0"/>
              </a:rPr>
              <a:t>Real Time Payments &amp; Digital Transformation</a:t>
            </a:r>
            <a:endParaRPr kumimoji="0" lang="en-IN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i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B2C58F9-0CA2-20BF-7FFB-5E3E8C39281E}"/>
              </a:ext>
            </a:extLst>
          </p:cNvPr>
          <p:cNvSpPr txBox="1"/>
          <p:nvPr/>
        </p:nvSpPr>
        <p:spPr>
          <a:xfrm>
            <a:off x="4263580" y="971227"/>
            <a:ext cx="3566160" cy="532542"/>
          </a:xfrm>
          <a:prstGeom prst="round2SameRect">
            <a:avLst/>
          </a:prstGeom>
          <a:gradFill flip="none" rotWithShape="1">
            <a:gsLst>
              <a:gs pos="0">
                <a:srgbClr val="00249A">
                  <a:shade val="30000"/>
                  <a:satMod val="115000"/>
                </a:srgbClr>
              </a:gs>
              <a:gs pos="50000">
                <a:srgbClr val="00249A">
                  <a:shade val="67500"/>
                  <a:satMod val="115000"/>
                </a:srgbClr>
              </a:gs>
              <a:gs pos="100000">
                <a:srgbClr val="00249A">
                  <a:shade val="100000"/>
                  <a:satMod val="115000"/>
                </a:srgbClr>
              </a:gs>
            </a:gsLst>
            <a:lin ang="10800000" scaled="1"/>
            <a:tileRect/>
          </a:gradFill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txBody>
          <a:bodyPr wrap="square" lIns="91440" tIns="45720" rIns="91440" bIns="4572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iri"/>
                <a:ea typeface="+mn-ea"/>
                <a:cs typeface="Segoe UI"/>
              </a:rPr>
              <a:t>Payment Consolidation &amp; Modernization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86B85A-849E-B517-787C-505D7AE44F88}"/>
              </a:ext>
            </a:extLst>
          </p:cNvPr>
          <p:cNvSpPr txBox="1"/>
          <p:nvPr/>
        </p:nvSpPr>
        <p:spPr>
          <a:xfrm>
            <a:off x="593742" y="1894490"/>
            <a:ext cx="3437031" cy="6924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+mn-lt"/>
                <a:cs typeface="+mn-lt"/>
              </a:rPr>
              <a:t>Elicitation, Impact analysis, exceptional handling for CBPR+, ESMIG T2 &amp; EURO1 migration from MT to ISO20022 via SWIFT’s AMH and FIS OPF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EABA54F9-B370-72D8-A7D1-C30E5238491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192" y="1526221"/>
            <a:ext cx="822130" cy="4939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24106AD-7918-E225-392E-10510BEE9C70}"/>
              </a:ext>
            </a:extLst>
          </p:cNvPr>
          <p:cNvSpPr txBox="1"/>
          <p:nvPr/>
        </p:nvSpPr>
        <p:spPr>
          <a:xfrm>
            <a:off x="529178" y="3540907"/>
            <a:ext cx="3566159" cy="6924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+mn-ea"/>
                <a:cs typeface="Segoe UI"/>
              </a:rPr>
              <a:t>Consulting partner to support ongoing scheme related mandates and integrate with Fiserv’s EPP product for payment standardization</a:t>
            </a:r>
            <a:endParaRPr kumimoji="0" lang="en-US" sz="13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iri"/>
              <a:ea typeface="+mn-ea"/>
              <a:cs typeface="Segoe U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83F13A-E5FA-E617-955F-33B3115B42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1382" y="3002136"/>
            <a:ext cx="1141751" cy="4992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57118C-FF43-81AE-9EAD-FD9AD1ADFD4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310" y="5243244"/>
            <a:ext cx="902820" cy="16938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ADC8D1A-935B-D305-272D-4BC74DBA4F88}"/>
              </a:ext>
            </a:extLst>
          </p:cNvPr>
          <p:cNvSpPr txBox="1"/>
          <p:nvPr/>
        </p:nvSpPr>
        <p:spPr>
          <a:xfrm>
            <a:off x="4263581" y="1894490"/>
            <a:ext cx="3566159" cy="892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131722"/>
                </a:solidFill>
                <a:effectLst/>
                <a:uLnTx/>
                <a:uFillTx/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Calibri" panose="020F0502020204030204" pitchFamily="34" charset="0"/>
                <a:cs typeface="Segoe UI"/>
              </a:rPr>
              <a:t>Orchestration of various payment types through a single channel by leveraging the </a:t>
            </a:r>
            <a:r>
              <a:rPr kumimoji="0" lang="en-US" sz="13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Calibri" panose="020F0502020204030204" pitchFamily="34" charset="0"/>
                <a:cs typeface="Segoe UI"/>
              </a:rPr>
              <a:t>Seeburger</a:t>
            </a: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Calibri" panose="020F0502020204030204" pitchFamily="34" charset="0"/>
                <a:cs typeface="Segoe UI"/>
              </a:rPr>
              <a:t> BIS tool to replace the legacy mainframe-based applic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EF6D02-A033-A857-FD0A-932831FA289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4688" y="1608513"/>
            <a:ext cx="1131320" cy="304484"/>
          </a:xfrm>
          <a:prstGeom prst="rect">
            <a:avLst/>
          </a:prstGeom>
          <a:effectLst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3AC9D3E-F967-7448-0349-658C24634315}"/>
              </a:ext>
            </a:extLst>
          </p:cNvPr>
          <p:cNvSpPr txBox="1"/>
          <p:nvPr/>
        </p:nvSpPr>
        <p:spPr>
          <a:xfrm>
            <a:off x="4263581" y="3540907"/>
            <a:ext cx="3566159" cy="6924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+mn-ea"/>
                <a:cs typeface="Segoe UI"/>
              </a:rPr>
              <a:t>Moved from “application centric” enterprise architecture  to a new lean “data centric” SOA aligned service driven architecture</a:t>
            </a:r>
            <a:endParaRPr kumimoji="0" lang="en-IN" sz="13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iri"/>
              <a:ea typeface="+mn-ea"/>
              <a:cs typeface="Segoe UI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383AC7A-81F0-55E6-9F25-F70650685E4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7314" y="3047225"/>
            <a:ext cx="1038693" cy="40909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84A22FB0-E00A-14DB-87DF-418295C259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57803" y="5181966"/>
            <a:ext cx="462387" cy="24686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52A4EE61-5A6C-72B9-2844-40D0C0092E59}"/>
              </a:ext>
            </a:extLst>
          </p:cNvPr>
          <p:cNvSpPr txBox="1"/>
          <p:nvPr/>
        </p:nvSpPr>
        <p:spPr>
          <a:xfrm>
            <a:off x="8077667" y="1894490"/>
            <a:ext cx="3501595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Calibri" panose="020F0502020204030204" pitchFamily="34" charset="0"/>
                <a:cs typeface="Segoe UI"/>
              </a:rPr>
              <a:t>Phase-wise enablement using </a:t>
            </a:r>
            <a:r>
              <a:rPr kumimoji="0" lang="en-US" sz="13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Calibri" panose="020F0502020204030204" pitchFamily="34" charset="0"/>
                <a:cs typeface="Segoe UI"/>
              </a:rPr>
              <a:t>VolPay</a:t>
            </a: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Calibri" panose="020F0502020204030204" pitchFamily="34" charset="0"/>
                <a:cs typeface="Segoe UI"/>
              </a:rPr>
              <a:t> (Volante). Customers to have a seamless experience while initiating the payments irrespective of the scheme be it TCH/RTP or </a:t>
            </a:r>
            <a:r>
              <a:rPr kumimoji="0" lang="en-US" sz="13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Calibri" panose="020F0502020204030204" pitchFamily="34" charset="0"/>
                <a:cs typeface="Segoe UI"/>
              </a:rPr>
              <a:t>FedNow</a:t>
            </a: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Calibri" panose="020F0502020204030204" pitchFamily="34" charset="0"/>
                <a:cs typeface="Segoe UI"/>
              </a:rPr>
              <a:t>.</a:t>
            </a:r>
          </a:p>
        </p:txBody>
      </p:sp>
      <p:pic>
        <p:nvPicPr>
          <p:cNvPr id="34" name="Picture 2" descr="The Bank of New York Mellon Corporation ...">
            <a:extLst>
              <a:ext uri="{FF2B5EF4-FFF2-40B4-BE49-F238E27FC236}">
                <a16:creationId xmlns:a16="http://schemas.microsoft.com/office/drawing/2014/main" id="{1C5130CB-A933-F668-875A-9616EC654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6491" y="1590174"/>
            <a:ext cx="1223947" cy="366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064891AF-1F13-5AEB-1FD3-DCF146244C4A}"/>
              </a:ext>
            </a:extLst>
          </p:cNvPr>
          <p:cNvSpPr txBox="1"/>
          <p:nvPr/>
        </p:nvSpPr>
        <p:spPr>
          <a:xfrm>
            <a:off x="8014124" y="3529890"/>
            <a:ext cx="362868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131722"/>
                </a:solidFill>
                <a:effectLst/>
                <a:uLnTx/>
                <a:uFillTx/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Calibri" panose="020F0502020204030204" pitchFamily="34" charset="0"/>
                <a:cs typeface="Segoe UI" panose="020B0502040204020203" pitchFamily="34" charset="0"/>
              </a:rPr>
              <a:t>Bank and Scheme specific enhancements in the ACI-UPF. Developed Service APIs for MasterCard Send, </a:t>
            </a:r>
            <a:r>
              <a:rPr kumimoji="0" lang="en-US" sz="13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Calibri" panose="020F0502020204030204" pitchFamily="34" charset="0"/>
                <a:cs typeface="Segoe UI" panose="020B0502040204020203" pitchFamily="34" charset="0"/>
              </a:rPr>
              <a:t>Zelle</a:t>
            </a: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iri"/>
                <a:ea typeface="Calibri" panose="020F0502020204030204" pitchFamily="34" charset="0"/>
                <a:cs typeface="Segoe UI" panose="020B0502040204020203" pitchFamily="34" charset="0"/>
              </a:rPr>
              <a:t>, TCH RTP schemes along with End-to-end payment product testing regression suite.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1A4EE46-0BF1-EB7A-3250-0B2B3CDE965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7999" y="5212190"/>
            <a:ext cx="765599" cy="206054"/>
          </a:xfrm>
          <a:prstGeom prst="rect">
            <a:avLst/>
          </a:prstGeom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A648482-1AA7-8C9A-5C87-EDA7F2FD7D3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09118" y="3072859"/>
            <a:ext cx="1038693" cy="3578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F5093C9-9E50-656B-4E9D-7747265D31A7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9693" y="5142804"/>
            <a:ext cx="484692" cy="274506"/>
          </a:xfrm>
          <a:prstGeom prst="rect">
            <a:avLst/>
          </a:prstGeom>
        </p:spPr>
      </p:pic>
      <p:pic>
        <p:nvPicPr>
          <p:cNvPr id="9" name="Picture 18" descr="Finastra Harmonizes Origination for Deposits, Loans and Mortgages to  Provide a Seamless Digital Experience | Financial IT">
            <a:extLst>
              <a:ext uri="{FF2B5EF4-FFF2-40B4-BE49-F238E27FC236}">
                <a16:creationId xmlns:a16="http://schemas.microsoft.com/office/drawing/2014/main" id="{99BA20B4-8A68-5F08-E364-B38E2ABE7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846" y="5114431"/>
            <a:ext cx="712356" cy="381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35ADD27-976A-4736-83B7-FDD2B770B423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-1755" t="26655" r="1755" b="26761"/>
          <a:stretch/>
        </p:blipFill>
        <p:spPr>
          <a:xfrm>
            <a:off x="3490394" y="5170439"/>
            <a:ext cx="582209" cy="21570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D17884C-BF11-2BC2-B6BE-D845995A3B55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-1755" t="26655" r="1755" b="26761"/>
          <a:stretch/>
        </p:blipFill>
        <p:spPr>
          <a:xfrm>
            <a:off x="5101903" y="5195877"/>
            <a:ext cx="582209" cy="215706"/>
          </a:xfrm>
          <a:prstGeom prst="rect">
            <a:avLst/>
          </a:prstGeom>
        </p:spPr>
      </p:pic>
      <p:pic>
        <p:nvPicPr>
          <p:cNvPr id="17" name="Picture 4" descr="Absa Group Limited - Wikipedia">
            <a:extLst>
              <a:ext uri="{FF2B5EF4-FFF2-40B4-BE49-F238E27FC236}">
                <a16:creationId xmlns:a16="http://schemas.microsoft.com/office/drawing/2014/main" id="{20717C0B-FB67-30C9-F79B-13384F36E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5825" y="5142804"/>
            <a:ext cx="353822" cy="34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Absa Group Limited - Wikipedia">
            <a:extLst>
              <a:ext uri="{FF2B5EF4-FFF2-40B4-BE49-F238E27FC236}">
                <a16:creationId xmlns:a16="http://schemas.microsoft.com/office/drawing/2014/main" id="{FEB45B17-44D9-47A5-6015-C5433D58FC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62253" y="5150147"/>
            <a:ext cx="353822" cy="34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1BC43B1-53EF-01D8-C5DD-E67823E6930E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-1755" t="26655" r="1755" b="26761"/>
          <a:stretch/>
        </p:blipFill>
        <p:spPr>
          <a:xfrm>
            <a:off x="9544730" y="5214917"/>
            <a:ext cx="582209" cy="21570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99E34F6-E5F9-9E53-CEBA-2263EA63B7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6015" y="5158942"/>
            <a:ext cx="462387" cy="246868"/>
          </a:xfrm>
          <a:prstGeom prst="rect">
            <a:avLst/>
          </a:prstGeom>
        </p:spPr>
      </p:pic>
      <p:pic>
        <p:nvPicPr>
          <p:cNvPr id="21" name="Picture 14" descr="American Express - Wikipedia">
            <a:extLst>
              <a:ext uri="{FF2B5EF4-FFF2-40B4-BE49-F238E27FC236}">
                <a16:creationId xmlns:a16="http://schemas.microsoft.com/office/drawing/2014/main" id="{8A09B67E-990F-227B-066D-3A7D0D0912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680" b="14615"/>
          <a:stretch/>
        </p:blipFill>
        <p:spPr bwMode="auto">
          <a:xfrm>
            <a:off x="6244559" y="5101295"/>
            <a:ext cx="504700" cy="351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4" descr="American Express - Wikipedia">
            <a:extLst>
              <a:ext uri="{FF2B5EF4-FFF2-40B4-BE49-F238E27FC236}">
                <a16:creationId xmlns:a16="http://schemas.microsoft.com/office/drawing/2014/main" id="{AD99041D-C6AD-C105-7CD7-625A83983C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680" b="14615"/>
          <a:stretch/>
        </p:blipFill>
        <p:spPr bwMode="auto">
          <a:xfrm>
            <a:off x="10747479" y="5109753"/>
            <a:ext cx="462388" cy="322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0" descr="The Story Behind Mastercard's New Logo">
            <a:extLst>
              <a:ext uri="{FF2B5EF4-FFF2-40B4-BE49-F238E27FC236}">
                <a16:creationId xmlns:a16="http://schemas.microsoft.com/office/drawing/2014/main" id="{33952525-0B01-3DFA-756E-2250CA1E2B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0EFEB"/>
              </a:clrFrom>
              <a:clrTo>
                <a:srgbClr val="F0EFE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867" y="5025328"/>
            <a:ext cx="649955" cy="468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 descr="Logo&#10;&#10;Description automatically generated">
            <a:extLst>
              <a:ext uri="{FF2B5EF4-FFF2-40B4-BE49-F238E27FC236}">
                <a16:creationId xmlns:a16="http://schemas.microsoft.com/office/drawing/2014/main" id="{722959CD-2383-C518-2BE5-A6554904B1E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4980" y="5056752"/>
            <a:ext cx="708543" cy="42574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88ECCA96-57EA-05A7-9761-CCB441ED1E4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6145" y="5207868"/>
            <a:ext cx="712356" cy="191724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4119524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7">
            <a:extLst>
              <a:ext uri="{FF2B5EF4-FFF2-40B4-BE49-F238E27FC236}">
                <a16:creationId xmlns:a16="http://schemas.microsoft.com/office/drawing/2014/main" id="{A8B9BB79-6B4A-CED2-B456-24556B630F99}"/>
              </a:ext>
            </a:extLst>
          </p:cNvPr>
          <p:cNvSpPr/>
          <p:nvPr/>
        </p:nvSpPr>
        <p:spPr>
          <a:xfrm>
            <a:off x="142265" y="1019503"/>
            <a:ext cx="3857296" cy="599090"/>
          </a:xfrm>
          <a:prstGeom prst="roundRect">
            <a:avLst>
              <a:gd name="adj" fmla="val 15568"/>
            </a:avLst>
          </a:prstGeom>
          <a:gradFill flip="none" rotWithShape="1">
            <a:gsLst>
              <a:gs pos="0">
                <a:srgbClr val="5B1B99">
                  <a:shade val="30000"/>
                  <a:satMod val="115000"/>
                </a:srgbClr>
              </a:gs>
              <a:gs pos="50000">
                <a:srgbClr val="5B1B99">
                  <a:shade val="67500"/>
                  <a:satMod val="115000"/>
                </a:srgbClr>
              </a:gs>
              <a:gs pos="100000">
                <a:srgbClr val="5B1B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28575">
            <a:noFill/>
          </a:ln>
          <a:effectLst>
            <a:outerShdw blurRad="50800" dist="25400" dir="16200000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200" kern="0">
              <a:solidFill>
                <a:srgbClr val="FFFFFF"/>
              </a:solidFill>
              <a:latin typeface="Calibiri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05B813D-B9A9-205F-0299-090D4ED22E70}"/>
              </a:ext>
            </a:extLst>
          </p:cNvPr>
          <p:cNvSpPr/>
          <p:nvPr/>
        </p:nvSpPr>
        <p:spPr>
          <a:xfrm>
            <a:off x="142265" y="1539764"/>
            <a:ext cx="3852000" cy="435600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Top Corners Rounded 65">
            <a:extLst>
              <a:ext uri="{FF2B5EF4-FFF2-40B4-BE49-F238E27FC236}">
                <a16:creationId xmlns:a16="http://schemas.microsoft.com/office/drawing/2014/main" id="{895DC9D6-EAAE-4EC9-FFCC-5C367E183438}"/>
              </a:ext>
            </a:extLst>
          </p:cNvPr>
          <p:cNvSpPr/>
          <p:nvPr/>
        </p:nvSpPr>
        <p:spPr>
          <a:xfrm>
            <a:off x="147193" y="2361155"/>
            <a:ext cx="3801081" cy="2024770"/>
          </a:xfrm>
          <a:prstGeom prst="round2SameRect">
            <a:avLst>
              <a:gd name="adj1" fmla="val 0"/>
              <a:gd name="adj2" fmla="val 32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ounded Rectangle 11">
            <a:extLst>
              <a:ext uri="{FF2B5EF4-FFF2-40B4-BE49-F238E27FC236}">
                <a16:creationId xmlns:a16="http://schemas.microsoft.com/office/drawing/2014/main" id="{C0BD0B56-99CB-2223-7AA9-4BED96723E4A}"/>
              </a:ext>
            </a:extLst>
          </p:cNvPr>
          <p:cNvSpPr/>
          <p:nvPr/>
        </p:nvSpPr>
        <p:spPr>
          <a:xfrm>
            <a:off x="4101426" y="1019503"/>
            <a:ext cx="3857296" cy="956442"/>
          </a:xfrm>
          <a:prstGeom prst="roundRect">
            <a:avLst>
              <a:gd name="adj" fmla="val 15568"/>
            </a:avLst>
          </a:prstGeom>
          <a:gradFill flip="none" rotWithShape="1">
            <a:gsLst>
              <a:gs pos="0">
                <a:srgbClr val="00249A">
                  <a:shade val="30000"/>
                  <a:satMod val="115000"/>
                </a:srgbClr>
              </a:gs>
              <a:gs pos="50000">
                <a:srgbClr val="00249A">
                  <a:shade val="67500"/>
                  <a:satMod val="115000"/>
                </a:srgbClr>
              </a:gs>
              <a:gs pos="100000">
                <a:srgbClr val="00249A">
                  <a:shade val="100000"/>
                  <a:satMod val="115000"/>
                </a:srgbClr>
              </a:gs>
            </a:gsLst>
            <a:lin ang="10800000" scaled="1"/>
            <a:tileRect/>
          </a:gradFill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txBody>
          <a:bodyPr wrap="square" lIns="91440" tIns="45720" rIns="91440" bIns="45720" anchor="ctr" anchorCtr="0">
            <a:noAutofit/>
          </a:bodyPr>
          <a:lstStyle/>
          <a:p>
            <a:pPr algn="ctr"/>
            <a:endParaRPr lang="en-US" sz="1200" b="1">
              <a:solidFill>
                <a:srgbClr val="FFFFFF"/>
              </a:solidFill>
              <a:latin typeface="Calibiri"/>
              <a:cs typeface="Segoe UI"/>
            </a:endParaRPr>
          </a:p>
        </p:txBody>
      </p:sp>
      <p:sp>
        <p:nvSpPr>
          <p:cNvPr id="6" name="Rounded Rectangle 12">
            <a:extLst>
              <a:ext uri="{FF2B5EF4-FFF2-40B4-BE49-F238E27FC236}">
                <a16:creationId xmlns:a16="http://schemas.microsoft.com/office/drawing/2014/main" id="{4922090F-6F73-35A5-7864-A771F1492529}"/>
              </a:ext>
            </a:extLst>
          </p:cNvPr>
          <p:cNvSpPr/>
          <p:nvPr/>
        </p:nvSpPr>
        <p:spPr>
          <a:xfrm>
            <a:off x="8035535" y="1019503"/>
            <a:ext cx="3857296" cy="956442"/>
          </a:xfrm>
          <a:prstGeom prst="roundRect">
            <a:avLst>
              <a:gd name="adj" fmla="val 15568"/>
            </a:avLst>
          </a:prstGeom>
          <a:gradFill flip="none" rotWithShape="1">
            <a:gsLst>
              <a:gs pos="0">
                <a:srgbClr val="5B1B99">
                  <a:shade val="30000"/>
                  <a:satMod val="115000"/>
                </a:srgbClr>
              </a:gs>
              <a:gs pos="50000">
                <a:srgbClr val="5B1B99">
                  <a:shade val="67500"/>
                  <a:satMod val="115000"/>
                </a:srgbClr>
              </a:gs>
              <a:gs pos="100000">
                <a:srgbClr val="5B1B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28575">
            <a:noFill/>
          </a:ln>
          <a:effectLst>
            <a:outerShdw blurRad="50800" dist="25400" dir="16200000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200" b="1" kern="0">
              <a:solidFill>
                <a:srgbClr val="FFFFFF"/>
              </a:solidFill>
              <a:latin typeface="Calibiri"/>
              <a:cs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A6E9E6-BB0B-DCCF-37BD-19884D7B32EF}"/>
              </a:ext>
            </a:extLst>
          </p:cNvPr>
          <p:cNvSpPr/>
          <p:nvPr/>
        </p:nvSpPr>
        <p:spPr>
          <a:xfrm>
            <a:off x="8035535" y="1547828"/>
            <a:ext cx="3852000" cy="435600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2D7716-80BB-2015-52BA-E98FE83E6499}"/>
              </a:ext>
            </a:extLst>
          </p:cNvPr>
          <p:cNvSpPr txBox="1"/>
          <p:nvPr/>
        </p:nvSpPr>
        <p:spPr>
          <a:xfrm>
            <a:off x="822622" y="1125745"/>
            <a:ext cx="2496582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lting</a:t>
            </a:r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id="{0C47516F-8E53-96BC-81D2-0695F0A8D5CD}"/>
              </a:ext>
            </a:extLst>
          </p:cNvPr>
          <p:cNvSpPr txBox="1"/>
          <p:nvPr/>
        </p:nvSpPr>
        <p:spPr>
          <a:xfrm>
            <a:off x="299169" y="1585407"/>
            <a:ext cx="3564304" cy="63337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Business &amp; Technology consulting to establish true north star, roadmap definition and implementation to deliver business valu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F68D017-C1E5-AFAD-E332-5E6213E52CE5}"/>
              </a:ext>
            </a:extLst>
          </p:cNvPr>
          <p:cNvGrpSpPr/>
          <p:nvPr/>
        </p:nvGrpSpPr>
        <p:grpSpPr>
          <a:xfrm>
            <a:off x="327113" y="2531842"/>
            <a:ext cx="3536360" cy="451406"/>
            <a:chOff x="418588" y="2584262"/>
            <a:chExt cx="3536360" cy="451406"/>
          </a:xfrm>
        </p:grpSpPr>
        <p:sp>
          <p:nvSpPr>
            <p:cNvPr id="11" name="TextBox 50">
              <a:extLst>
                <a:ext uri="{FF2B5EF4-FFF2-40B4-BE49-F238E27FC236}">
                  <a16:creationId xmlns:a16="http://schemas.microsoft.com/office/drawing/2014/main" id="{5AF659FE-AF07-FB89-ACA5-23B8023D1E03}"/>
                </a:ext>
              </a:extLst>
            </p:cNvPr>
            <p:cNvSpPr txBox="1"/>
            <p:nvPr/>
          </p:nvSpPr>
          <p:spPr>
            <a:xfrm>
              <a:off x="984486" y="2584262"/>
              <a:ext cx="2970462" cy="45140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>
                  <a:solidFill>
                    <a:schemeClr val="accent1">
                      <a:lumMod val="75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eimagine business process to deliver business value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B2C46DDC-AE9D-F687-7B19-FDE26A9603C3}"/>
                </a:ext>
              </a:extLst>
            </p:cNvPr>
            <p:cNvGrpSpPr/>
            <p:nvPr/>
          </p:nvGrpSpPr>
          <p:grpSpPr>
            <a:xfrm>
              <a:off x="418588" y="2596469"/>
              <a:ext cx="432037" cy="432037"/>
              <a:chOff x="2195850" y="946656"/>
              <a:chExt cx="1232303" cy="1232303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660156A-8E86-3455-00E2-603AE0E7CCCE}"/>
                  </a:ext>
                </a:extLst>
              </p:cNvPr>
              <p:cNvSpPr/>
              <p:nvPr/>
            </p:nvSpPr>
            <p:spPr>
              <a:xfrm>
                <a:off x="2195850" y="946656"/>
                <a:ext cx="1232303" cy="12323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  <a:effectLst>
                <a:outerShdw blurRad="203200" dist="38100" dir="5400000" algn="t" rotWithShape="0">
                  <a:schemeClr val="accent5">
                    <a:lumMod val="40000"/>
                    <a:lumOff val="60000"/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FFDF9E73-439C-DC30-8E4C-899F168CCB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449594" y="1221627"/>
                <a:ext cx="724814" cy="724814"/>
              </a:xfrm>
              <a:prstGeom prst="rect">
                <a:avLst/>
              </a:prstGeom>
            </p:spPr>
          </p:pic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54E245A-C8DB-E9E0-892C-38220AC41F5B}"/>
              </a:ext>
            </a:extLst>
          </p:cNvPr>
          <p:cNvGrpSpPr/>
          <p:nvPr/>
        </p:nvGrpSpPr>
        <p:grpSpPr>
          <a:xfrm>
            <a:off x="327113" y="3915276"/>
            <a:ext cx="3240000" cy="451406"/>
            <a:chOff x="418588" y="2586784"/>
            <a:chExt cx="3212486" cy="451406"/>
          </a:xfrm>
        </p:grpSpPr>
        <p:sp>
          <p:nvSpPr>
            <p:cNvPr id="16" name="TextBox 30">
              <a:extLst>
                <a:ext uri="{FF2B5EF4-FFF2-40B4-BE49-F238E27FC236}">
                  <a16:creationId xmlns:a16="http://schemas.microsoft.com/office/drawing/2014/main" id="{7F272334-F996-A75B-B8D6-B6D0975D4AD8}"/>
                </a:ext>
              </a:extLst>
            </p:cNvPr>
            <p:cNvSpPr txBox="1"/>
            <p:nvPr/>
          </p:nvSpPr>
          <p:spPr>
            <a:xfrm>
              <a:off x="980048" y="2586784"/>
              <a:ext cx="2651026" cy="45140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>
                  <a:solidFill>
                    <a:schemeClr val="accent1">
                      <a:lumMod val="75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Target state architecture and roadmap definition 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4F6EBF5-CAE2-00DA-D3DD-B64ABD345FC6}"/>
                </a:ext>
              </a:extLst>
            </p:cNvPr>
            <p:cNvGrpSpPr/>
            <p:nvPr/>
          </p:nvGrpSpPr>
          <p:grpSpPr>
            <a:xfrm>
              <a:off x="418588" y="2596469"/>
              <a:ext cx="432037" cy="432037"/>
              <a:chOff x="2195850" y="946656"/>
              <a:chExt cx="1232303" cy="1232303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294178CE-B2C4-E7C7-3067-B507AE5E06FF}"/>
                  </a:ext>
                </a:extLst>
              </p:cNvPr>
              <p:cNvSpPr/>
              <p:nvPr/>
            </p:nvSpPr>
            <p:spPr>
              <a:xfrm>
                <a:off x="2195850" y="946656"/>
                <a:ext cx="1232303" cy="12323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  <a:effectLst>
                <a:outerShdw blurRad="203200" dist="38100" dir="5400000" algn="t" rotWithShape="0">
                  <a:schemeClr val="accent5">
                    <a:lumMod val="40000"/>
                    <a:lumOff val="60000"/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0C97BC70-35F8-EAC5-F14B-15B6280E58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482538" y="1254571"/>
                <a:ext cx="658923" cy="658923"/>
              </a:xfrm>
              <a:prstGeom prst="rect">
                <a:avLst/>
              </a:prstGeom>
            </p:spPr>
          </p:pic>
        </p:grp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AC805E4-72E5-04B0-8805-C7A695C85F54}"/>
              </a:ext>
            </a:extLst>
          </p:cNvPr>
          <p:cNvCxnSpPr>
            <a:cxnSpLocks/>
          </p:cNvCxnSpPr>
          <p:nvPr/>
        </p:nvCxnSpPr>
        <p:spPr>
          <a:xfrm>
            <a:off x="142265" y="3054526"/>
            <a:ext cx="3852368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BA74903-28C4-5E37-9A9D-E3D77F417CC3}"/>
              </a:ext>
            </a:extLst>
          </p:cNvPr>
          <p:cNvGrpSpPr/>
          <p:nvPr/>
        </p:nvGrpSpPr>
        <p:grpSpPr>
          <a:xfrm>
            <a:off x="327113" y="3223559"/>
            <a:ext cx="3212486" cy="451406"/>
            <a:chOff x="418588" y="2586784"/>
            <a:chExt cx="3212486" cy="451406"/>
          </a:xfrm>
        </p:grpSpPr>
        <p:sp>
          <p:nvSpPr>
            <p:cNvPr id="22" name="TextBox 42">
              <a:extLst>
                <a:ext uri="{FF2B5EF4-FFF2-40B4-BE49-F238E27FC236}">
                  <a16:creationId xmlns:a16="http://schemas.microsoft.com/office/drawing/2014/main" id="{2F06F22F-4C18-D212-7D2B-79475F1784BE}"/>
                </a:ext>
              </a:extLst>
            </p:cNvPr>
            <p:cNvSpPr txBox="1"/>
            <p:nvPr/>
          </p:nvSpPr>
          <p:spPr>
            <a:xfrm>
              <a:off x="984485" y="2586784"/>
              <a:ext cx="2646589" cy="45140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>
                  <a:solidFill>
                    <a:schemeClr val="accent1">
                      <a:lumMod val="75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ayment ecosystem assessment and remediations recommendations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533B01A-E853-E60E-5377-F113B442D526}"/>
                </a:ext>
              </a:extLst>
            </p:cNvPr>
            <p:cNvGrpSpPr/>
            <p:nvPr/>
          </p:nvGrpSpPr>
          <p:grpSpPr>
            <a:xfrm>
              <a:off x="418588" y="2596469"/>
              <a:ext cx="432037" cy="432037"/>
              <a:chOff x="2195850" y="946656"/>
              <a:chExt cx="1232303" cy="1232303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3E71E41F-850F-5021-32CE-0872AFAB8187}"/>
                  </a:ext>
                </a:extLst>
              </p:cNvPr>
              <p:cNvSpPr/>
              <p:nvPr/>
            </p:nvSpPr>
            <p:spPr>
              <a:xfrm>
                <a:off x="2195850" y="946656"/>
                <a:ext cx="1232303" cy="12323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  <a:effectLst>
                <a:outerShdw blurRad="203200" dist="38100" dir="5400000" algn="t" rotWithShape="0">
                  <a:schemeClr val="accent5">
                    <a:lumMod val="40000"/>
                    <a:lumOff val="60000"/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3A11C5AD-B1A3-9D46-4BE0-1EB85FDF4F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449594" y="1221627"/>
                <a:ext cx="724814" cy="724814"/>
              </a:xfrm>
              <a:prstGeom prst="rect">
                <a:avLst/>
              </a:prstGeom>
            </p:spPr>
          </p:pic>
        </p:grp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0FF8056-2AA5-2206-AB25-BF96DA03669D}"/>
              </a:ext>
            </a:extLst>
          </p:cNvPr>
          <p:cNvCxnSpPr>
            <a:cxnSpLocks/>
          </p:cNvCxnSpPr>
          <p:nvPr/>
        </p:nvCxnSpPr>
        <p:spPr>
          <a:xfrm>
            <a:off x="142265" y="3765990"/>
            <a:ext cx="3852368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19">
            <a:extLst>
              <a:ext uri="{FF2B5EF4-FFF2-40B4-BE49-F238E27FC236}">
                <a16:creationId xmlns:a16="http://schemas.microsoft.com/office/drawing/2014/main" id="{E824E814-DC57-C5E0-4F26-3C54223FEE83}"/>
              </a:ext>
            </a:extLst>
          </p:cNvPr>
          <p:cNvSpPr txBox="1"/>
          <p:nvPr/>
        </p:nvSpPr>
        <p:spPr>
          <a:xfrm>
            <a:off x="286297" y="4655411"/>
            <a:ext cx="3564304" cy="27186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Payment Reference Architecture - Business &amp; I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6F894B7-9B8A-A9B7-C9EB-0BBD7D529E6D}"/>
              </a:ext>
            </a:extLst>
          </p:cNvPr>
          <p:cNvSpPr txBox="1"/>
          <p:nvPr/>
        </p:nvSpPr>
        <p:spPr>
          <a:xfrm>
            <a:off x="4769257" y="1125744"/>
            <a:ext cx="2496582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atform Selec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5583ED-F4D2-A1AA-0D87-9E8BB6038825}"/>
              </a:ext>
            </a:extLst>
          </p:cNvPr>
          <p:cNvSpPr txBox="1"/>
          <p:nvPr/>
        </p:nvSpPr>
        <p:spPr>
          <a:xfrm>
            <a:off x="8715892" y="1104725"/>
            <a:ext cx="2496582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FS Innovation Lab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4AB3216-4184-F569-2658-96A2D31F37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5688" y="3317830"/>
            <a:ext cx="254115" cy="254115"/>
          </a:xfrm>
          <a:prstGeom prst="rect">
            <a:avLst/>
          </a:prstGeom>
        </p:spPr>
      </p:pic>
      <p:sp>
        <p:nvSpPr>
          <p:cNvPr id="31" name="TextBox 193">
            <a:extLst>
              <a:ext uri="{FF2B5EF4-FFF2-40B4-BE49-F238E27FC236}">
                <a16:creationId xmlns:a16="http://schemas.microsoft.com/office/drawing/2014/main" id="{1DDE2D6E-120A-FB96-87E6-60F4385FBF7A}"/>
              </a:ext>
            </a:extLst>
          </p:cNvPr>
          <p:cNvSpPr txBox="1"/>
          <p:nvPr/>
        </p:nvSpPr>
        <p:spPr>
          <a:xfrm>
            <a:off x="8098601" y="1584189"/>
            <a:ext cx="3757067" cy="45384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urturing innovation in collaboration with clients and partners in fail-fast &amp; fail-safe manner</a:t>
            </a:r>
          </a:p>
        </p:txBody>
      </p:sp>
      <p:sp>
        <p:nvSpPr>
          <p:cNvPr id="32" name="Rectangle: Top Corners Rounded 117">
            <a:extLst>
              <a:ext uri="{FF2B5EF4-FFF2-40B4-BE49-F238E27FC236}">
                <a16:creationId xmlns:a16="http://schemas.microsoft.com/office/drawing/2014/main" id="{DA2B547A-00A1-38D1-96F9-946E4F900CF7}"/>
              </a:ext>
            </a:extLst>
          </p:cNvPr>
          <p:cNvSpPr/>
          <p:nvPr/>
        </p:nvSpPr>
        <p:spPr>
          <a:xfrm>
            <a:off x="8067636" y="2361154"/>
            <a:ext cx="3816000" cy="2175667"/>
          </a:xfrm>
          <a:prstGeom prst="round2SameRect">
            <a:avLst>
              <a:gd name="adj1" fmla="val 0"/>
              <a:gd name="adj2" fmla="val 32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1DE765F-1018-5C56-C23A-C66664FAB78B}"/>
              </a:ext>
            </a:extLst>
          </p:cNvPr>
          <p:cNvGrpSpPr/>
          <p:nvPr/>
        </p:nvGrpSpPr>
        <p:grpSpPr>
          <a:xfrm>
            <a:off x="8156411" y="2574947"/>
            <a:ext cx="3699257" cy="432037"/>
            <a:chOff x="418588" y="2596469"/>
            <a:chExt cx="3699257" cy="432037"/>
          </a:xfrm>
        </p:grpSpPr>
        <p:sp>
          <p:nvSpPr>
            <p:cNvPr id="34" name="TextBox 209">
              <a:extLst>
                <a:ext uri="{FF2B5EF4-FFF2-40B4-BE49-F238E27FC236}">
                  <a16:creationId xmlns:a16="http://schemas.microsoft.com/office/drawing/2014/main" id="{BFF3A518-1BC3-4E01-D45A-C0CDF3F01AE9}"/>
                </a:ext>
              </a:extLst>
            </p:cNvPr>
            <p:cNvSpPr txBox="1"/>
            <p:nvPr/>
          </p:nvSpPr>
          <p:spPr>
            <a:xfrm>
              <a:off x="978069" y="2637055"/>
              <a:ext cx="3139776" cy="27186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 dirty="0">
                  <a:solidFill>
                    <a:schemeClr val="accent1">
                      <a:lumMod val="75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o-innovation as a Service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18329C40-52E5-93A7-2870-ED32ABED07C9}"/>
                </a:ext>
              </a:extLst>
            </p:cNvPr>
            <p:cNvGrpSpPr/>
            <p:nvPr/>
          </p:nvGrpSpPr>
          <p:grpSpPr>
            <a:xfrm>
              <a:off x="418588" y="2596469"/>
              <a:ext cx="432037" cy="432037"/>
              <a:chOff x="2195850" y="946656"/>
              <a:chExt cx="1232303" cy="1232303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30E9D2F7-841C-D9EB-B425-25B35EAA28C6}"/>
                  </a:ext>
                </a:extLst>
              </p:cNvPr>
              <p:cNvSpPr/>
              <p:nvPr/>
            </p:nvSpPr>
            <p:spPr>
              <a:xfrm>
                <a:off x="2195850" y="946656"/>
                <a:ext cx="1232303" cy="12323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  <a:effectLst>
                <a:outerShdw blurRad="203200" dist="38100" dir="5400000" algn="t" rotWithShape="0">
                  <a:schemeClr val="accent5">
                    <a:lumMod val="40000"/>
                    <a:lumOff val="60000"/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92CF5AB3-F394-59E2-84EC-F6F2EB1F4D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413353" y="1078202"/>
                <a:ext cx="797295" cy="797295"/>
              </a:xfrm>
              <a:prstGeom prst="rect">
                <a:avLst/>
              </a:prstGeom>
            </p:spPr>
          </p:pic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524951F-D29F-2D82-6288-1541EDD87B9D}"/>
              </a:ext>
            </a:extLst>
          </p:cNvPr>
          <p:cNvGrpSpPr/>
          <p:nvPr/>
        </p:nvGrpSpPr>
        <p:grpSpPr>
          <a:xfrm>
            <a:off x="8155059" y="3264417"/>
            <a:ext cx="3395810" cy="432037"/>
            <a:chOff x="269622" y="2616620"/>
            <a:chExt cx="3395810" cy="432037"/>
          </a:xfrm>
        </p:grpSpPr>
        <p:sp>
          <p:nvSpPr>
            <p:cNvPr id="39" name="TextBox 205">
              <a:extLst>
                <a:ext uri="{FF2B5EF4-FFF2-40B4-BE49-F238E27FC236}">
                  <a16:creationId xmlns:a16="http://schemas.microsoft.com/office/drawing/2014/main" id="{8BC3E601-CD5E-0EDE-4701-C5F2755798D9}"/>
                </a:ext>
              </a:extLst>
            </p:cNvPr>
            <p:cNvSpPr txBox="1"/>
            <p:nvPr/>
          </p:nvSpPr>
          <p:spPr>
            <a:xfrm>
              <a:off x="830455" y="2666874"/>
              <a:ext cx="2834977" cy="27186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>
                  <a:solidFill>
                    <a:schemeClr val="accent1">
                      <a:lumMod val="75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Digital Sandbox &amp; Engineering Platform</a:t>
              </a: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A2133961-3E6F-81D4-B3FF-DE15B72780AA}"/>
                </a:ext>
              </a:extLst>
            </p:cNvPr>
            <p:cNvGrpSpPr/>
            <p:nvPr/>
          </p:nvGrpSpPr>
          <p:grpSpPr>
            <a:xfrm>
              <a:off x="269622" y="2616620"/>
              <a:ext cx="432037" cy="432037"/>
              <a:chOff x="1770953" y="1004133"/>
              <a:chExt cx="1232303" cy="1232303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470FB6DD-F8D5-A708-BD2F-464827C37D8C}"/>
                  </a:ext>
                </a:extLst>
              </p:cNvPr>
              <p:cNvSpPr/>
              <p:nvPr/>
            </p:nvSpPr>
            <p:spPr>
              <a:xfrm>
                <a:off x="1770953" y="1004133"/>
                <a:ext cx="1232303" cy="12323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  <a:effectLst>
                <a:outerShdw blurRad="203200" dist="38100" dir="5400000" algn="t" rotWithShape="0">
                  <a:schemeClr val="accent5">
                    <a:lumMod val="40000"/>
                    <a:lumOff val="60000"/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224436C3-004C-84B1-687D-07D8C6E6A5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064792" y="1224246"/>
                <a:ext cx="724814" cy="724814"/>
              </a:xfrm>
              <a:prstGeom prst="rect">
                <a:avLst/>
              </a:prstGeom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26A024A-639C-C816-0FF5-F94E4073F7BE}"/>
              </a:ext>
            </a:extLst>
          </p:cNvPr>
          <p:cNvGrpSpPr/>
          <p:nvPr/>
        </p:nvGrpSpPr>
        <p:grpSpPr>
          <a:xfrm>
            <a:off x="8201136" y="3953887"/>
            <a:ext cx="3231943" cy="432037"/>
            <a:chOff x="281956" y="2596469"/>
            <a:chExt cx="3231943" cy="432037"/>
          </a:xfrm>
        </p:grpSpPr>
        <p:sp>
          <p:nvSpPr>
            <p:cNvPr id="44" name="TextBox 201">
              <a:extLst>
                <a:ext uri="{FF2B5EF4-FFF2-40B4-BE49-F238E27FC236}">
                  <a16:creationId xmlns:a16="http://schemas.microsoft.com/office/drawing/2014/main" id="{BFFED335-E882-AA9E-98DB-6E51E3318860}"/>
                </a:ext>
              </a:extLst>
            </p:cNvPr>
            <p:cNvSpPr txBox="1"/>
            <p:nvPr/>
          </p:nvSpPr>
          <p:spPr>
            <a:xfrm>
              <a:off x="889848" y="2676552"/>
              <a:ext cx="2624051" cy="27186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>
                  <a:solidFill>
                    <a:schemeClr val="accent1">
                      <a:lumMod val="75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ssets Marketplace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DC1C3752-5557-803A-CC39-F7294C3554EC}"/>
                </a:ext>
              </a:extLst>
            </p:cNvPr>
            <p:cNvGrpSpPr/>
            <p:nvPr/>
          </p:nvGrpSpPr>
          <p:grpSpPr>
            <a:xfrm>
              <a:off x="281956" y="2596469"/>
              <a:ext cx="432037" cy="432037"/>
              <a:chOff x="1806132" y="946656"/>
              <a:chExt cx="1232303" cy="1232303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C2CE77F2-33D3-31B4-B3DD-F5ED06206A1D}"/>
                  </a:ext>
                </a:extLst>
              </p:cNvPr>
              <p:cNvSpPr/>
              <p:nvPr/>
            </p:nvSpPr>
            <p:spPr>
              <a:xfrm>
                <a:off x="1806132" y="946656"/>
                <a:ext cx="1232303" cy="12323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  <a:effectLst>
                <a:outerShdw blurRad="203200" dist="38100" dir="5400000" algn="t" rotWithShape="0">
                  <a:schemeClr val="accent5">
                    <a:lumMod val="40000"/>
                    <a:lumOff val="60000"/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E9DA0D4A-E011-0CC4-169C-5E6FCB06F6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059876" y="1221627"/>
                <a:ext cx="724814" cy="724814"/>
              </a:xfrm>
              <a:prstGeom prst="rect">
                <a:avLst/>
              </a:prstGeom>
            </p:spPr>
          </p:pic>
        </p:grpSp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7D15DE3-D713-3E1B-C606-45D7923E0710}"/>
              </a:ext>
            </a:extLst>
          </p:cNvPr>
          <p:cNvCxnSpPr>
            <a:cxnSpLocks/>
          </p:cNvCxnSpPr>
          <p:nvPr/>
        </p:nvCxnSpPr>
        <p:spPr>
          <a:xfrm flipV="1">
            <a:off x="8035535" y="2996164"/>
            <a:ext cx="3857296" cy="48864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BC802E3-A58A-265A-EAC7-28F63299D40B}"/>
              </a:ext>
            </a:extLst>
          </p:cNvPr>
          <p:cNvCxnSpPr>
            <a:cxnSpLocks/>
          </p:cNvCxnSpPr>
          <p:nvPr/>
        </p:nvCxnSpPr>
        <p:spPr>
          <a:xfrm flipV="1">
            <a:off x="8035535" y="3744503"/>
            <a:ext cx="3857296" cy="16794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C6F47219-F344-F056-69BC-5D294508286B}"/>
              </a:ext>
            </a:extLst>
          </p:cNvPr>
          <p:cNvSpPr/>
          <p:nvPr/>
        </p:nvSpPr>
        <p:spPr>
          <a:xfrm>
            <a:off x="4093557" y="1538564"/>
            <a:ext cx="3852000" cy="435600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: Top Corners Rounded 65">
            <a:extLst>
              <a:ext uri="{FF2B5EF4-FFF2-40B4-BE49-F238E27FC236}">
                <a16:creationId xmlns:a16="http://schemas.microsoft.com/office/drawing/2014/main" id="{FC4510C9-DC07-75EB-1E88-A30C0D5D1F55}"/>
              </a:ext>
            </a:extLst>
          </p:cNvPr>
          <p:cNvSpPr/>
          <p:nvPr/>
        </p:nvSpPr>
        <p:spPr>
          <a:xfrm>
            <a:off x="4116492" y="2374970"/>
            <a:ext cx="3781861" cy="2175667"/>
          </a:xfrm>
          <a:prstGeom prst="round2SameRect">
            <a:avLst>
              <a:gd name="adj1" fmla="val 0"/>
              <a:gd name="adj2" fmla="val 32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84A7350-91B1-AA9D-14A5-2015F0F14E97}"/>
              </a:ext>
            </a:extLst>
          </p:cNvPr>
          <p:cNvGrpSpPr/>
          <p:nvPr/>
        </p:nvGrpSpPr>
        <p:grpSpPr>
          <a:xfrm>
            <a:off x="4289215" y="2557865"/>
            <a:ext cx="3536360" cy="432037"/>
            <a:chOff x="418588" y="2596469"/>
            <a:chExt cx="3536360" cy="432037"/>
          </a:xfrm>
        </p:grpSpPr>
        <p:sp>
          <p:nvSpPr>
            <p:cNvPr id="53" name="TextBox 50">
              <a:extLst>
                <a:ext uri="{FF2B5EF4-FFF2-40B4-BE49-F238E27FC236}">
                  <a16:creationId xmlns:a16="http://schemas.microsoft.com/office/drawing/2014/main" id="{A5A10260-9186-18B2-FC83-E0A452E4A022}"/>
                </a:ext>
              </a:extLst>
            </p:cNvPr>
            <p:cNvSpPr txBox="1"/>
            <p:nvPr/>
          </p:nvSpPr>
          <p:spPr>
            <a:xfrm>
              <a:off x="984486" y="2674030"/>
              <a:ext cx="2970462" cy="27186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 dirty="0">
                  <a:solidFill>
                    <a:schemeClr val="accent1">
                      <a:lumMod val="75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Discovery &amp; Vendor Shortlisting</a:t>
              </a: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CC242F58-E457-DCE8-A040-9898DD787AF1}"/>
                </a:ext>
              </a:extLst>
            </p:cNvPr>
            <p:cNvSpPr/>
            <p:nvPr/>
          </p:nvSpPr>
          <p:spPr>
            <a:xfrm>
              <a:off x="418588" y="2596469"/>
              <a:ext cx="432037" cy="43203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  <a:effectLst>
              <a:outerShdw blurRad="203200" dist="38100" dir="5400000" algn="t" rotWithShape="0">
                <a:schemeClr val="accent5">
                  <a:lumMod val="40000"/>
                  <a:lumOff val="60000"/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545A340-AF92-3CA7-5605-F842BA24D13B}"/>
              </a:ext>
            </a:extLst>
          </p:cNvPr>
          <p:cNvGrpSpPr/>
          <p:nvPr/>
        </p:nvGrpSpPr>
        <p:grpSpPr>
          <a:xfrm>
            <a:off x="4289215" y="3938777"/>
            <a:ext cx="3212486" cy="432037"/>
            <a:chOff x="418588" y="2596469"/>
            <a:chExt cx="3212486" cy="432037"/>
          </a:xfrm>
        </p:grpSpPr>
        <p:sp>
          <p:nvSpPr>
            <p:cNvPr id="56" name="TextBox 30">
              <a:extLst>
                <a:ext uri="{FF2B5EF4-FFF2-40B4-BE49-F238E27FC236}">
                  <a16:creationId xmlns:a16="http://schemas.microsoft.com/office/drawing/2014/main" id="{D9D5E48E-2726-FA80-AF0A-829146856AA6}"/>
                </a:ext>
              </a:extLst>
            </p:cNvPr>
            <p:cNvSpPr txBox="1"/>
            <p:nvPr/>
          </p:nvSpPr>
          <p:spPr>
            <a:xfrm>
              <a:off x="980048" y="2676552"/>
              <a:ext cx="2651026" cy="27186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>
                  <a:solidFill>
                    <a:schemeClr val="accent1">
                      <a:lumMod val="75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ecommendation &amp; Roadmap </a:t>
              </a: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058D98CE-6C23-8ABD-46AB-7F169C964763}"/>
                </a:ext>
              </a:extLst>
            </p:cNvPr>
            <p:cNvSpPr/>
            <p:nvPr/>
          </p:nvSpPr>
          <p:spPr>
            <a:xfrm>
              <a:off x="418588" y="2596469"/>
              <a:ext cx="432037" cy="43203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  <a:effectLst>
              <a:outerShdw blurRad="203200" dist="38100" dir="5400000" algn="t" rotWithShape="0">
                <a:schemeClr val="accent5">
                  <a:lumMod val="40000"/>
                  <a:lumOff val="60000"/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778D5AA0-F02D-2085-9100-A24A9961C3E2}"/>
              </a:ext>
            </a:extLst>
          </p:cNvPr>
          <p:cNvGrpSpPr/>
          <p:nvPr/>
        </p:nvGrpSpPr>
        <p:grpSpPr>
          <a:xfrm>
            <a:off x="4289215" y="3237375"/>
            <a:ext cx="3212486" cy="451406"/>
            <a:chOff x="418588" y="2586784"/>
            <a:chExt cx="3212486" cy="451406"/>
          </a:xfrm>
        </p:grpSpPr>
        <p:sp>
          <p:nvSpPr>
            <p:cNvPr id="59" name="TextBox 42">
              <a:extLst>
                <a:ext uri="{FF2B5EF4-FFF2-40B4-BE49-F238E27FC236}">
                  <a16:creationId xmlns:a16="http://schemas.microsoft.com/office/drawing/2014/main" id="{89C321E3-18FE-987D-78B3-930283670511}"/>
                </a:ext>
              </a:extLst>
            </p:cNvPr>
            <p:cNvSpPr txBox="1"/>
            <p:nvPr/>
          </p:nvSpPr>
          <p:spPr>
            <a:xfrm>
              <a:off x="984485" y="2586784"/>
              <a:ext cx="2646589" cy="45140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>
                  <a:solidFill>
                    <a:schemeClr val="accent1">
                      <a:lumMod val="75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endor Demo &amp; Evaluation using Assessment Framework </a:t>
              </a: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991B7303-DC05-DD78-42A2-1C1E1F4A70DD}"/>
                </a:ext>
              </a:extLst>
            </p:cNvPr>
            <p:cNvSpPr/>
            <p:nvPr/>
          </p:nvSpPr>
          <p:spPr>
            <a:xfrm>
              <a:off x="418588" y="2596469"/>
              <a:ext cx="432037" cy="43203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  <a:effectLst>
              <a:outerShdw blurRad="203200" dist="38100" dir="5400000" algn="t" rotWithShape="0">
                <a:schemeClr val="accent5">
                  <a:lumMod val="40000"/>
                  <a:lumOff val="60000"/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61" name="TextBox 19">
            <a:extLst>
              <a:ext uri="{FF2B5EF4-FFF2-40B4-BE49-F238E27FC236}">
                <a16:creationId xmlns:a16="http://schemas.microsoft.com/office/drawing/2014/main" id="{97D5D4D4-1813-A780-5C22-A5C76C4DE8B0}"/>
              </a:ext>
            </a:extLst>
          </p:cNvPr>
          <p:cNvSpPr txBox="1"/>
          <p:nvPr/>
        </p:nvSpPr>
        <p:spPr>
          <a:xfrm>
            <a:off x="4088900" y="1632744"/>
            <a:ext cx="3654389" cy="45384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COTS platform or custom solution recommendation to realize payment capability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AD893D9-1409-02C2-6A66-46615603AD64}"/>
              </a:ext>
            </a:extLst>
          </p:cNvPr>
          <p:cNvCxnSpPr>
            <a:cxnSpLocks/>
          </p:cNvCxnSpPr>
          <p:nvPr/>
        </p:nvCxnSpPr>
        <p:spPr>
          <a:xfrm>
            <a:off x="4088900" y="3042263"/>
            <a:ext cx="3816000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34B6A67F-75CF-4A30-0B14-1699EED00EBE}"/>
              </a:ext>
            </a:extLst>
          </p:cNvPr>
          <p:cNvCxnSpPr>
            <a:cxnSpLocks/>
          </p:cNvCxnSpPr>
          <p:nvPr/>
        </p:nvCxnSpPr>
        <p:spPr>
          <a:xfrm flipV="1">
            <a:off x="4134671" y="3758694"/>
            <a:ext cx="3816000" cy="16794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63">
            <a:extLst>
              <a:ext uri="{FF2B5EF4-FFF2-40B4-BE49-F238E27FC236}">
                <a16:creationId xmlns:a16="http://schemas.microsoft.com/office/drawing/2014/main" id="{13E2579E-FD9B-F1B8-D1B9-88C1E23781B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21252" y="5402823"/>
            <a:ext cx="514590" cy="257295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384C1324-E0EA-A2C8-AD98-DFB7E379AF8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84239" y="4754463"/>
            <a:ext cx="740715" cy="406055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33B31E86-264A-EC85-56C5-BA8098409666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25151" b="26744"/>
          <a:stretch/>
        </p:blipFill>
        <p:spPr>
          <a:xfrm>
            <a:off x="4555153" y="4770418"/>
            <a:ext cx="711895" cy="342457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8492BF80-13D0-1FA0-4A16-AD96D792FBDE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4398" t="36918" r="6834" b="41194"/>
          <a:stretch/>
        </p:blipFill>
        <p:spPr>
          <a:xfrm>
            <a:off x="6176188" y="5396878"/>
            <a:ext cx="926070" cy="268617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2C6AE74E-D11B-DABC-14F2-6A78B815FF2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79200" y="4016010"/>
            <a:ext cx="226057" cy="226057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EA4B6FED-4C49-AD5A-DCB3-CEE4AE2636F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flipH="1">
            <a:off x="4363794" y="2648995"/>
            <a:ext cx="270549" cy="250258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D08B3EE7-0877-F63A-20FB-5555678CF1F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60058" y="3338686"/>
            <a:ext cx="320371" cy="259098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C51CE5CA-5100-5ADD-982B-81C901B5153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537795" y="5226928"/>
            <a:ext cx="627942" cy="262151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A58FC679-B330-E53A-30C1-05D23C21E86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92616" y="5204566"/>
            <a:ext cx="841321" cy="274344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C3A15935-67AD-E364-AF45-C63AD15E937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851388" y="5136764"/>
            <a:ext cx="353599" cy="335309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0A8F07A5-1D41-F787-F4E8-73884EAB53B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626381" y="5006280"/>
            <a:ext cx="701101" cy="134124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6D96CFEC-D686-99F3-AAB2-3C5A4F93F6F1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8697" y="5395940"/>
            <a:ext cx="536467" cy="152677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6A21FFFB-EAA8-C685-124D-15C6373830D7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566107" y="5538177"/>
            <a:ext cx="963251" cy="262151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AB9F5C7D-8453-0CF7-E3CF-7B1AC4E50585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427373" y="5282254"/>
            <a:ext cx="823031" cy="414564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4C0ED72A-464C-3577-4371-46EC3208776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332683" y="4975797"/>
            <a:ext cx="1085182" cy="195089"/>
          </a:xfrm>
          <a:prstGeom prst="rect">
            <a:avLst/>
          </a:prstGeom>
        </p:spPr>
      </p:pic>
      <p:sp>
        <p:nvSpPr>
          <p:cNvPr id="78" name="Title 77">
            <a:extLst>
              <a:ext uri="{FF2B5EF4-FFF2-40B4-BE49-F238E27FC236}">
                <a16:creationId xmlns:a16="http://schemas.microsoft.com/office/drawing/2014/main" id="{0CF19B1E-2780-B02D-133D-19C0B865F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are enabling the strong foundational capabilities for our client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662466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70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8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8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82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8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8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5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6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6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8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8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54"/>
  <p:tag name="BTFPCENTERX" val="39.82301"/>
  <p:tag name="BTFPCENTERY" val="27.33333"/>
  <p:tag name="BTFPHEIGHT" val="416.9998"/>
  <p:tag name="BTFPLAYOUTANCHOREBOTTOM" val="False"/>
  <p:tag name="BTFPLAYOUTANCHORELEFT" val="True"/>
  <p:tag name="BTFPLAYOUTANCHORERIGHT" val="True"/>
  <p:tag name="BTFPLAYOUTANCHORETOP" val="True"/>
  <p:tag name="BTFPLAYOUTENABLED" val="0"/>
  <p:tag name="BTFPWIDTH" val="9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9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9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9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9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5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6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6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5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68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6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6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5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6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6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5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6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6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26"/>
  <p:tag name="BTFPCENTERX" val="50"/>
  <p:tag name="BTFPCENTERY" val="50"/>
  <p:tag name="BTFPHEIGHT" val="160.2205"/>
  <p:tag name="BTFPLAYOUTANCHOREBOTTOM" val="False"/>
  <p:tag name="BTFPLAYOUTANCHORELEFT" val="True"/>
  <p:tag name="BTFPLAYOUTANCHORERIGHT" val="True"/>
  <p:tag name="BTFPLAYOUTANCHORETOP" val="True"/>
  <p:tag name="BTFPLAYOUTENABLED" val="0"/>
  <p:tag name="BTFPWIDTH" val="288.002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2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7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3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3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3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4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39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0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4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4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4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4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7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4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68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5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oO57776IhMgKmjPXXpP/g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oO57776IhMgKmjPXXpP/gDRGF0YQAWAAAAAlBlcnNvbmFsSWQAAQAAAAAAAk5hbWUACwAAAFBlcnNvbmFsSWQAEFZlcnNpb24AAAAAAAlMYXN0V3JpdGUAopiM7Y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03892635392957"/>
  <p:tag name="EMPOWERCHARTSPROPERTIES_A_LENGTH" val="24576"/>
  <p:tag name="RUNTIME_ID" val="557e05d5-9b2f-4f25-9715-34fc72e684b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7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79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L&amp;T Infotec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ICG Fonts">
      <a:majorFont>
        <a:latin typeface="Arial"/>
        <a:ea typeface="STKaiti"/>
        <a:cs typeface=""/>
      </a:majorFont>
      <a:minorFont>
        <a:latin typeface="Arial"/>
        <a:ea typeface="STKait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>
    <a:extraClrScheme>
      <a:clrScheme name="ICG_Pres (A4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Aqua">
      <a:srgbClr val="00B0B9"/>
    </a:custClr>
    <a:custClr name="Aqua Tint">
      <a:srgbClr val="99DFE3"/>
    </a:custClr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66B797"/>
    </a:custClr>
    <a:custClr name="Plum">
      <a:srgbClr val="890C58"/>
    </a:custClr>
    <a:custClr name="Plum Tint">
      <a:srgbClr val="B37A9F"/>
    </a:custClr>
    <a:custClr name="Olive">
      <a:srgbClr val="949300"/>
    </a:custClr>
    <a:custClr name="Olive Tint">
      <a:srgbClr val="D4D499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</a:theme>
</file>

<file path=ppt/theme/theme3.xml><?xml version="1.0" encoding="utf-8"?>
<a:theme xmlns:a="http://schemas.openxmlformats.org/drawingml/2006/main" name="4_Master Slide">
  <a:themeElements>
    <a:clrScheme name="LTIMindtree">
      <a:dk1>
        <a:srgbClr val="004B86"/>
      </a:dk1>
      <a:lt1>
        <a:srgbClr val="FFFFFF"/>
      </a:lt1>
      <a:dk2>
        <a:srgbClr val="000000"/>
      </a:dk2>
      <a:lt2>
        <a:srgbClr val="0088CE"/>
      </a:lt2>
      <a:accent1>
        <a:srgbClr val="004B86"/>
      </a:accent1>
      <a:accent2>
        <a:srgbClr val="2D6E2F"/>
      </a:accent2>
      <a:accent3>
        <a:srgbClr val="BFCD3F"/>
      </a:accent3>
      <a:accent4>
        <a:srgbClr val="EF7F1A"/>
      </a:accent4>
      <a:accent5>
        <a:srgbClr val="C02222"/>
      </a:accent5>
      <a:accent6>
        <a:srgbClr val="2B2A29"/>
      </a:accent6>
      <a:hlink>
        <a:srgbClr val="60A5E2"/>
      </a:hlink>
      <a:folHlink>
        <a:srgbClr val="BFCD3F"/>
      </a:folHlink>
    </a:clrScheme>
    <a:fontScheme name="LTIMindtree">
      <a:majorFont>
        <a:latin typeface="Frutiger 45 bold"/>
        <a:ea typeface=""/>
        <a:cs typeface=""/>
      </a:majorFont>
      <a:minorFont>
        <a:latin typeface="Frutiger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TIMindtree-Nov2022.potx" id="{E1DCA801-0612-46AC-9DBC-0C186B0C21A4}" vid="{B44C9A17-290D-4F9A-BD7E-F40CB76E595D}"/>
    </a:ext>
  </a:extLst>
</a:theme>
</file>

<file path=ppt/theme/theme4.xml><?xml version="1.0" encoding="utf-8"?>
<a:theme xmlns:a="http://schemas.openxmlformats.org/drawingml/2006/main" name="1_Office Theme">
  <a:themeElements>
    <a:clrScheme name="DHL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ECB2F"/>
      </a:accent1>
      <a:accent2>
        <a:srgbClr val="003C6E"/>
      </a:accent2>
      <a:accent3>
        <a:srgbClr val="1D9FE9"/>
      </a:accent3>
      <a:accent4>
        <a:srgbClr val="D40511"/>
      </a:accent4>
      <a:accent5>
        <a:srgbClr val="BFBFBF"/>
      </a:accent5>
      <a:accent6>
        <a:srgbClr val="DFEDF9"/>
      </a:accent6>
      <a:hlink>
        <a:srgbClr val="64B3E3"/>
      </a:hlink>
      <a:folHlink>
        <a:srgbClr val="004683"/>
      </a:folHlink>
    </a:clrScheme>
    <a:fontScheme name="Frutiger">
      <a:majorFont>
        <a:latin typeface="Frutiger 45 bold"/>
        <a:ea typeface=""/>
        <a:cs typeface=""/>
      </a:majorFont>
      <a:minorFont>
        <a:latin typeface="Frutiger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sFor_Spectra.potx" id="{D243AE31-2911-4724-A6B0-9DF4D975FB8C}" vid="{DF7EB32A-31C2-4AB8-91DF-BF0AD935DC35}"/>
    </a:ext>
  </a:extLst>
</a:theme>
</file>

<file path=ppt/theme/theme5.xml><?xml version="1.0" encoding="utf-8"?>
<a:theme xmlns:a="http://schemas.openxmlformats.org/drawingml/2006/main" name="2_Office Theme">
  <a:themeElements>
    <a:clrScheme name="DHL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ECB2F"/>
      </a:accent1>
      <a:accent2>
        <a:srgbClr val="003C6E"/>
      </a:accent2>
      <a:accent3>
        <a:srgbClr val="1D9FE9"/>
      </a:accent3>
      <a:accent4>
        <a:srgbClr val="D40511"/>
      </a:accent4>
      <a:accent5>
        <a:srgbClr val="BFBFBF"/>
      </a:accent5>
      <a:accent6>
        <a:srgbClr val="DFEDF9"/>
      </a:accent6>
      <a:hlink>
        <a:srgbClr val="64B3E3"/>
      </a:hlink>
      <a:folHlink>
        <a:srgbClr val="004683"/>
      </a:folHlink>
    </a:clrScheme>
    <a:fontScheme name="Frutiger">
      <a:majorFont>
        <a:latin typeface="Frutiger 45 bold"/>
        <a:ea typeface=""/>
        <a:cs typeface=""/>
      </a:majorFont>
      <a:minorFont>
        <a:latin typeface="Frutiger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sFor_Spectra.potx" id="{D243AE31-2911-4724-A6B0-9DF4D975FB8C}" vid="{DF7EB32A-31C2-4AB8-91DF-BF0AD935DC35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9e23a45-c1be-4549-912d-df7a4714493e">
      <UserInfo>
        <DisplayName>Amrit A Raheja</DisplayName>
        <AccountId>42</AccountId>
        <AccountType/>
      </UserInfo>
    </SharedWithUsers>
    <lcf76f155ced4ddcb4097134ff3c332f xmlns="e959ad88-215e-4351-bf97-df1b6f03a8c4">
      <Terms xmlns="http://schemas.microsoft.com/office/infopath/2007/PartnerControls"/>
    </lcf76f155ced4ddcb4097134ff3c332f>
    <TaxCatchAll xmlns="e9e23a45-c1be-4549-912d-df7a4714493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A9F7CB9E2E6846B4A59A1184200B9F" ma:contentTypeVersion="14" ma:contentTypeDescription="Create a new document." ma:contentTypeScope="" ma:versionID="9df88c0394eaffffb1a509a53ed64ed8">
  <xsd:schema xmlns:xsd="http://www.w3.org/2001/XMLSchema" xmlns:xs="http://www.w3.org/2001/XMLSchema" xmlns:p="http://schemas.microsoft.com/office/2006/metadata/properties" xmlns:ns2="e959ad88-215e-4351-bf97-df1b6f03a8c4" xmlns:ns3="e9e23a45-c1be-4549-912d-df7a4714493e" targetNamespace="http://schemas.microsoft.com/office/2006/metadata/properties" ma:root="true" ma:fieldsID="5dddffe12ce5ceae167fb97b0a975ce7" ns2:_="" ns3:_="">
    <xsd:import namespace="e959ad88-215e-4351-bf97-df1b6f03a8c4"/>
    <xsd:import namespace="e9e23a45-c1be-4549-912d-df7a471449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59ad88-215e-4351-bf97-df1b6f03a8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c554113-5c1c-4c88-a5a0-ba7e0db088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e23a45-c1be-4549-912d-df7a4714493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cabb621-2185-4beb-aa24-ee932de4a0d4}" ma:internalName="TaxCatchAll" ma:showField="CatchAllData" ma:web="e9e23a45-c1be-4549-912d-df7a471449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C55CB52-33A3-4B47-8C1D-0EE24875E3DC}">
  <ds:schemaRefs>
    <ds:schemaRef ds:uri="e9e23a45-c1be-4549-912d-df7a4714493e"/>
    <ds:schemaRef ds:uri="http://purl.org/dc/elements/1.1/"/>
    <ds:schemaRef ds:uri="e959ad88-215e-4351-bf97-df1b6f03a8c4"/>
    <ds:schemaRef ds:uri="http://purl.org/dc/dcmitype/"/>
    <ds:schemaRef ds:uri="http://purl.org/dc/terms/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3998B09E-68DE-4B62-A34E-BB5B738ECC3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B8A7D6-08E2-4871-B363-5ED8883E1C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959ad88-215e-4351-bf97-df1b6f03a8c4"/>
    <ds:schemaRef ds:uri="e9e23a45-c1be-4549-912d-df7a471449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5</TotalTime>
  <Words>1872</Words>
  <Application>Microsoft Office PowerPoint</Application>
  <PresentationFormat>Widescreen</PresentationFormat>
  <Paragraphs>313</Paragraphs>
  <Slides>14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15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14</vt:i4>
      </vt:variant>
    </vt:vector>
  </HeadingPairs>
  <TitlesOfParts>
    <vt:vector size="34" baseType="lpstr">
      <vt:lpstr>Amazon Ember</vt:lpstr>
      <vt:lpstr>Aptos</vt:lpstr>
      <vt:lpstr>Arial</vt:lpstr>
      <vt:lpstr>Calibiri</vt:lpstr>
      <vt:lpstr>Calibri</vt:lpstr>
      <vt:lpstr>Calibri Light</vt:lpstr>
      <vt:lpstr>Frutiger 45 bold</vt:lpstr>
      <vt:lpstr>Frutiger 45 Light</vt:lpstr>
      <vt:lpstr>Frutiger LT Pro 45 Light</vt:lpstr>
      <vt:lpstr>Frutiger LT Pro 55 Roman</vt:lpstr>
      <vt:lpstr>Segoe UI</vt:lpstr>
      <vt:lpstr>Source Sans Pro</vt:lpstr>
      <vt:lpstr>Symbol</vt:lpstr>
      <vt:lpstr>Trebuchet MS</vt:lpstr>
      <vt:lpstr>Wingdings</vt:lpstr>
      <vt:lpstr>Custom Design</vt:lpstr>
      <vt:lpstr>1_L&amp;T Infotech</vt:lpstr>
      <vt:lpstr>4_Master Slide</vt:lpstr>
      <vt:lpstr>1_Office Theme</vt:lpstr>
      <vt:lpstr>2_Office Theme</vt:lpstr>
      <vt:lpstr>PowerPoint Presentation</vt:lpstr>
      <vt:lpstr>LTIMindtree is a part of Larsen &amp; Toubro (L&amp;T) group, a $22B engineering conglomerate</vt:lpstr>
      <vt:lpstr>We are partnering with our clients for getting to the future, faster. Together.</vt:lpstr>
      <vt:lpstr>We have incubated specialized practices within BFS focusing on domain, technology &amp; solutions…</vt:lpstr>
      <vt:lpstr>Our Payments &amp; Cards Practice</vt:lpstr>
      <vt:lpstr>Our Cards &amp; Payments Practice has scaled significant in recent years to support diversified clientele including banks and pay tech leaders</vt:lpstr>
      <vt:lpstr>PowerPoint Presentation</vt:lpstr>
      <vt:lpstr>We are enabling adoption of digital tenets powering the future of Payments</vt:lpstr>
      <vt:lpstr>We are enabling the strong foundational capabilities for our clients</vt:lpstr>
      <vt:lpstr>Leveraging our Innovation Ecosystem / BFS Labs for delivering value - Idea to industrialization</vt:lpstr>
      <vt:lpstr>Pivoting on AI/GenAI to deliver value</vt:lpstr>
      <vt:lpstr>Strategic Investments in New Age Platforms which can deliver value </vt:lpstr>
      <vt:lpstr>PowerPoint Presentation</vt:lpstr>
      <vt:lpstr>Our Expertise in Payments Domai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gati Sharma</dc:creator>
  <cp:lastModifiedBy>Ashutosh Dhananjay Bhamare</cp:lastModifiedBy>
  <cp:revision>2</cp:revision>
  <dcterms:created xsi:type="dcterms:W3CDTF">2023-04-27T07:05:08Z</dcterms:created>
  <dcterms:modified xsi:type="dcterms:W3CDTF">2025-06-26T15:2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A9F7CB9E2E6846B4A59A1184200B9F</vt:lpwstr>
  </property>
  <property fmtid="{D5CDD505-2E9C-101B-9397-08002B2CF9AE}" pid="3" name="_dlc_DocIdItemGuid">
    <vt:lpwstr>36da67c7-b504-4aea-865b-0e87cedc899d</vt:lpwstr>
  </property>
  <property fmtid="{D5CDD505-2E9C-101B-9397-08002B2CF9AE}" pid="4" name="MediaServiceImageTags">
    <vt:lpwstr/>
  </property>
</Properties>
</file>